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2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3.bin" ContentType="application/vnd.openxmlformats-officedocument.oleObject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4.bin" ContentType="application/vnd.openxmlformats-officedocument.oleObject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5" r:id="rId1"/>
    <p:sldMasterId id="2147483799" r:id="rId2"/>
    <p:sldMasterId id="2147483772" r:id="rId3"/>
    <p:sldMasterId id="2147483827" r:id="rId4"/>
  </p:sldMasterIdLst>
  <p:notesMasterIdLst>
    <p:notesMasterId r:id="rId27"/>
  </p:notesMasterIdLst>
  <p:handoutMasterIdLst>
    <p:handoutMasterId r:id="rId28"/>
  </p:handoutMasterIdLst>
  <p:sldIdLst>
    <p:sldId id="1105" r:id="rId5"/>
    <p:sldId id="1106" r:id="rId6"/>
    <p:sldId id="1107" r:id="rId7"/>
    <p:sldId id="1002" r:id="rId8"/>
    <p:sldId id="1060" r:id="rId9"/>
    <p:sldId id="1059" r:id="rId10"/>
    <p:sldId id="996" r:id="rId11"/>
    <p:sldId id="1065" r:id="rId12"/>
    <p:sldId id="718" r:id="rId13"/>
    <p:sldId id="719" r:id="rId14"/>
    <p:sldId id="1081" r:id="rId15"/>
    <p:sldId id="1083" r:id="rId16"/>
    <p:sldId id="1092" r:id="rId17"/>
    <p:sldId id="1096" r:id="rId18"/>
    <p:sldId id="1101" r:id="rId19"/>
    <p:sldId id="1050" r:id="rId20"/>
    <p:sldId id="1053" r:id="rId21"/>
    <p:sldId id="1074" r:id="rId22"/>
    <p:sldId id="1075" r:id="rId23"/>
    <p:sldId id="1076" r:id="rId24"/>
    <p:sldId id="1110" r:id="rId25"/>
    <p:sldId id="1109" r:id="rId26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 Munk" initials="C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CC0000"/>
    <a:srgbClr val="0000FF"/>
    <a:srgbClr val="66CCFF"/>
    <a:srgbClr val="FFCC66"/>
    <a:srgbClr val="00FF80"/>
    <a:srgbClr val="D2FBFC"/>
    <a:srgbClr val="F1FFFF"/>
    <a:srgbClr val="EDEDED"/>
    <a:srgbClr val="F0FFFF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98" autoAdjust="0"/>
    <p:restoredTop sz="95179" autoAdjust="0"/>
  </p:normalViewPr>
  <p:slideViewPr>
    <p:cSldViewPr snapToGrid="0">
      <p:cViewPr varScale="1">
        <p:scale>
          <a:sx n="87" d="100"/>
          <a:sy n="87" d="100"/>
        </p:scale>
        <p:origin x="-1192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3" d="100"/>
        <a:sy n="93" d="100"/>
      </p:scale>
      <p:origin x="0" y="3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67C42F-BE9B-4C89-850A-8EDA512359FF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82B9E2-EE03-4E37-BD71-0B9426AF9CF1}">
      <dgm:prSet/>
      <dgm:spPr/>
      <dgm:t>
        <a:bodyPr/>
        <a:lstStyle/>
        <a:p>
          <a:pPr rtl="0"/>
          <a:r>
            <a:rPr lang="en-US" b="1" i="0" dirty="0" smtClean="0"/>
            <a:t>Big Technical Goals</a:t>
          </a:r>
          <a:endParaRPr lang="en-US" dirty="0"/>
        </a:p>
      </dgm:t>
    </dgm:pt>
    <dgm:pt modelId="{9239E182-56D8-4BC6-ABAC-98FA174B3B68}" type="parTrans" cxnId="{C16D0F0C-A66C-4F5D-9B95-7D7D39EDB88E}">
      <dgm:prSet/>
      <dgm:spPr/>
      <dgm:t>
        <a:bodyPr/>
        <a:lstStyle/>
        <a:p>
          <a:endParaRPr lang="en-US"/>
        </a:p>
      </dgm:t>
    </dgm:pt>
    <dgm:pt modelId="{F70E286B-3AC9-4DB2-A215-393DA91D577E}" type="sibTrans" cxnId="{C16D0F0C-A66C-4F5D-9B95-7D7D39EDB88E}">
      <dgm:prSet/>
      <dgm:spPr/>
      <dgm:t>
        <a:bodyPr/>
        <a:lstStyle/>
        <a:p>
          <a:endParaRPr lang="en-US"/>
        </a:p>
      </dgm:t>
    </dgm:pt>
    <dgm:pt modelId="{4D12CEAB-ADBD-48DB-8F93-F056BC813110}">
      <dgm:prSet/>
      <dgm:spPr/>
      <dgm:t>
        <a:bodyPr/>
        <a:lstStyle/>
        <a:p>
          <a:pPr rtl="0"/>
          <a:r>
            <a:rPr lang="en-US" sz="1900" b="1" i="0" dirty="0" smtClean="0"/>
            <a:t>Impact Goals</a:t>
          </a:r>
          <a:endParaRPr lang="en-US" sz="1900" dirty="0"/>
        </a:p>
      </dgm:t>
    </dgm:pt>
    <dgm:pt modelId="{467336C2-5221-4280-8CEA-EB5D0E403F28}" type="parTrans" cxnId="{8EEE8886-1E91-428A-B6CA-A3037B9F503E}">
      <dgm:prSet/>
      <dgm:spPr/>
      <dgm:t>
        <a:bodyPr/>
        <a:lstStyle/>
        <a:p>
          <a:endParaRPr lang="en-US"/>
        </a:p>
      </dgm:t>
    </dgm:pt>
    <dgm:pt modelId="{453B0F3B-65DF-4C62-A679-F4B897283D7D}" type="sibTrans" cxnId="{8EEE8886-1E91-428A-B6CA-A3037B9F503E}">
      <dgm:prSet/>
      <dgm:spPr/>
      <dgm:t>
        <a:bodyPr/>
        <a:lstStyle/>
        <a:p>
          <a:endParaRPr lang="en-US"/>
        </a:p>
      </dgm:t>
    </dgm:pt>
    <dgm:pt modelId="{5B51CEE7-9A77-451F-BE14-9570516551F7}">
      <dgm:prSet custT="1"/>
      <dgm:spPr/>
      <dgm:t>
        <a:bodyPr/>
        <a:lstStyle/>
        <a:p>
          <a:pPr rtl="0"/>
          <a:r>
            <a:rPr lang="en-US" sz="1400" b="1" i="0" dirty="0" smtClean="0">
              <a:latin typeface="Arial"/>
              <a:cs typeface="Arial"/>
            </a:rPr>
            <a:t>Increased payload to Mars</a:t>
          </a:r>
          <a:endParaRPr lang="en-US" sz="1400" b="1" dirty="0">
            <a:latin typeface="Arial"/>
            <a:cs typeface="Arial"/>
          </a:endParaRPr>
        </a:p>
      </dgm:t>
    </dgm:pt>
    <dgm:pt modelId="{FA89618E-E5E7-487C-BCF9-B2E0928A87D7}" type="parTrans" cxnId="{DB2B1834-FD78-4169-A99E-E709FE511571}">
      <dgm:prSet/>
      <dgm:spPr/>
      <dgm:t>
        <a:bodyPr/>
        <a:lstStyle/>
        <a:p>
          <a:endParaRPr lang="en-US"/>
        </a:p>
      </dgm:t>
    </dgm:pt>
    <dgm:pt modelId="{12F46A41-081D-4952-921E-4DD3912B7F99}" type="sibTrans" cxnId="{DB2B1834-FD78-4169-A99E-E709FE511571}">
      <dgm:prSet/>
      <dgm:spPr/>
      <dgm:t>
        <a:bodyPr/>
        <a:lstStyle/>
        <a:p>
          <a:endParaRPr lang="en-US"/>
        </a:p>
      </dgm:t>
    </dgm:pt>
    <dgm:pt modelId="{D5197309-4F9B-5741-8D12-0715DD157EE7}">
      <dgm:prSet/>
      <dgm:spPr/>
      <dgm:t>
        <a:bodyPr/>
        <a:lstStyle/>
        <a:p>
          <a:pPr rtl="0"/>
          <a:r>
            <a:rPr lang="en-US" b="0" i="0" dirty="0" smtClean="0"/>
            <a:t>50% reduction </a:t>
          </a:r>
          <a:r>
            <a:rPr lang="en-US" dirty="0" smtClean="0"/>
            <a:t>in overall manufacturing costs</a:t>
          </a:r>
          <a:endParaRPr lang="en-US" dirty="0"/>
        </a:p>
      </dgm:t>
    </dgm:pt>
    <dgm:pt modelId="{2FAA576E-4978-B14F-A51A-4B518B5B03C3}" type="parTrans" cxnId="{844C5BAA-25CC-B740-8475-F7062F3FB4FD}">
      <dgm:prSet/>
      <dgm:spPr/>
      <dgm:t>
        <a:bodyPr/>
        <a:lstStyle/>
        <a:p>
          <a:endParaRPr lang="en-US"/>
        </a:p>
      </dgm:t>
    </dgm:pt>
    <dgm:pt modelId="{9F23BDFF-739D-094A-B654-62FAA578292F}" type="sibTrans" cxnId="{844C5BAA-25CC-B740-8475-F7062F3FB4FD}">
      <dgm:prSet/>
      <dgm:spPr/>
      <dgm:t>
        <a:bodyPr/>
        <a:lstStyle/>
        <a:p>
          <a:endParaRPr lang="en-US"/>
        </a:p>
      </dgm:t>
    </dgm:pt>
    <dgm:pt modelId="{2EA58E50-4332-EE48-AE24-DD7512A4BAD2}">
      <dgm:prSet/>
      <dgm:spPr/>
      <dgm:t>
        <a:bodyPr/>
        <a:lstStyle/>
        <a:p>
          <a:pPr rtl="0"/>
          <a:r>
            <a:rPr lang="en-US" b="0" i="0" dirty="0" smtClean="0"/>
            <a:t>50% reduction in mass compared to SOA</a:t>
          </a:r>
          <a:endParaRPr lang="en-US" dirty="0"/>
        </a:p>
      </dgm:t>
    </dgm:pt>
    <dgm:pt modelId="{E92740D9-1A38-F94A-BE46-4635026A34EA}" type="parTrans" cxnId="{9E93D486-9F59-A245-AF3A-4789F69EFDFF}">
      <dgm:prSet/>
      <dgm:spPr/>
      <dgm:t>
        <a:bodyPr/>
        <a:lstStyle/>
        <a:p>
          <a:endParaRPr lang="en-US"/>
        </a:p>
      </dgm:t>
    </dgm:pt>
    <dgm:pt modelId="{83321431-2062-1E49-BB65-5E9AADD277DD}" type="sibTrans" cxnId="{9E93D486-9F59-A245-AF3A-4789F69EFDFF}">
      <dgm:prSet/>
      <dgm:spPr/>
      <dgm:t>
        <a:bodyPr/>
        <a:lstStyle/>
        <a:p>
          <a:endParaRPr lang="en-US"/>
        </a:p>
      </dgm:t>
    </dgm:pt>
    <dgm:pt modelId="{DB15ABE6-94EE-6A45-88BA-2A2922C7045B}">
      <dgm:prSet custT="1"/>
      <dgm:spPr/>
      <dgm:t>
        <a:bodyPr/>
        <a:lstStyle/>
        <a:p>
          <a:pPr rtl="0"/>
          <a:r>
            <a:rPr lang="en-US" sz="1400" b="1" dirty="0" smtClean="0">
              <a:latin typeface="Arial"/>
              <a:cs typeface="Arial"/>
            </a:rPr>
            <a:t>Accelerate the adoption of LMSAM space technologies  </a:t>
          </a:r>
          <a:endParaRPr lang="en-US" sz="1400" b="1" dirty="0">
            <a:latin typeface="Arial"/>
            <a:cs typeface="Arial"/>
          </a:endParaRPr>
        </a:p>
      </dgm:t>
    </dgm:pt>
    <dgm:pt modelId="{1DA47922-55F7-0043-8FAE-4B2322864229}" type="parTrans" cxnId="{5623D64D-4F21-7348-A596-1B7FE5E53C14}">
      <dgm:prSet/>
      <dgm:spPr/>
      <dgm:t>
        <a:bodyPr/>
        <a:lstStyle/>
        <a:p>
          <a:endParaRPr lang="en-US"/>
        </a:p>
      </dgm:t>
    </dgm:pt>
    <dgm:pt modelId="{B6577C2C-0FF2-B147-8C98-69E3DD3F3CBE}" type="sibTrans" cxnId="{5623D64D-4F21-7348-A596-1B7FE5E53C14}">
      <dgm:prSet/>
      <dgm:spPr/>
      <dgm:t>
        <a:bodyPr/>
        <a:lstStyle/>
        <a:p>
          <a:endParaRPr lang="en-US"/>
        </a:p>
      </dgm:t>
    </dgm:pt>
    <dgm:pt modelId="{8AE56840-325E-6941-91F9-0806202B2950}">
      <dgm:prSet custT="1"/>
      <dgm:spPr/>
      <dgm:t>
        <a:bodyPr/>
        <a:lstStyle/>
        <a:p>
          <a:pPr rtl="0"/>
          <a:r>
            <a:rPr lang="en-US" sz="1400" b="1" dirty="0" smtClean="0">
              <a:latin typeface="Arial"/>
              <a:cs typeface="Arial"/>
            </a:rPr>
            <a:t>Increase resilience of space vehicles</a:t>
          </a:r>
          <a:endParaRPr lang="en-US" sz="1400" b="1" dirty="0">
            <a:latin typeface="Arial"/>
            <a:cs typeface="Arial"/>
          </a:endParaRPr>
        </a:p>
      </dgm:t>
    </dgm:pt>
    <dgm:pt modelId="{935D2153-F532-5F4C-905F-8ED56FE9A7B7}" type="parTrans" cxnId="{C2EB2ACA-7A6C-5E43-8493-01CD5761AACC}">
      <dgm:prSet/>
      <dgm:spPr/>
      <dgm:t>
        <a:bodyPr/>
        <a:lstStyle/>
        <a:p>
          <a:endParaRPr lang="en-US"/>
        </a:p>
      </dgm:t>
    </dgm:pt>
    <dgm:pt modelId="{50D08C7D-27A5-D144-96BC-326EA155AE9A}" type="sibTrans" cxnId="{C2EB2ACA-7A6C-5E43-8493-01CD5761AACC}">
      <dgm:prSet/>
      <dgm:spPr/>
      <dgm:t>
        <a:bodyPr/>
        <a:lstStyle/>
        <a:p>
          <a:endParaRPr lang="en-US"/>
        </a:p>
      </dgm:t>
    </dgm:pt>
    <dgm:pt modelId="{C7BE1561-5591-6348-B0FF-F116EB7B1F33}">
      <dgm:prSet custT="1"/>
      <dgm:spPr/>
      <dgm:t>
        <a:bodyPr/>
        <a:lstStyle/>
        <a:p>
          <a:pPr rtl="0"/>
          <a:r>
            <a:rPr lang="en-US" sz="1400" b="1" dirty="0" smtClean="0">
              <a:solidFill>
                <a:srgbClr val="FFFFFF"/>
              </a:solidFill>
              <a:latin typeface="Arial"/>
              <a:cs typeface="Arial"/>
            </a:rPr>
            <a:t>Deliver innovative technologies that dramatically improve capabilities </a:t>
          </a:r>
          <a:endParaRPr lang="en-US" sz="1400" b="1" dirty="0">
            <a:solidFill>
              <a:srgbClr val="FFFFFF"/>
            </a:solidFill>
            <a:latin typeface="Arial"/>
            <a:cs typeface="Arial"/>
          </a:endParaRPr>
        </a:p>
      </dgm:t>
    </dgm:pt>
    <dgm:pt modelId="{D8736614-0EB6-DA43-A409-41A4033B2D3F}" type="parTrans" cxnId="{E91D60FA-42D6-4748-8D9B-9513FBAF35BF}">
      <dgm:prSet/>
      <dgm:spPr/>
      <dgm:t>
        <a:bodyPr/>
        <a:lstStyle/>
        <a:p>
          <a:endParaRPr lang="en-US"/>
        </a:p>
      </dgm:t>
    </dgm:pt>
    <dgm:pt modelId="{3729AEF9-80B8-9B4B-B78A-3D5498782783}" type="sibTrans" cxnId="{E91D60FA-42D6-4748-8D9B-9513FBAF35BF}">
      <dgm:prSet/>
      <dgm:spPr/>
      <dgm:t>
        <a:bodyPr/>
        <a:lstStyle/>
        <a:p>
          <a:endParaRPr lang="en-US"/>
        </a:p>
      </dgm:t>
    </dgm:pt>
    <dgm:pt modelId="{11EDF870-E448-5341-AF63-84034EF6FBD6}">
      <dgm:prSet/>
      <dgm:spPr/>
      <dgm:t>
        <a:bodyPr/>
        <a:lstStyle/>
        <a:p>
          <a:pPr rtl="0"/>
          <a:r>
            <a:rPr lang="en-US" dirty="0" smtClean="0"/>
            <a:t>Rapidly enable new capabilities </a:t>
          </a:r>
          <a:endParaRPr lang="en-US" dirty="0"/>
        </a:p>
      </dgm:t>
    </dgm:pt>
    <dgm:pt modelId="{62D15B96-522E-1B43-BE88-3B25102D88FC}" type="parTrans" cxnId="{351C6591-5EA2-0A48-BAE0-E25BFA4EA086}">
      <dgm:prSet/>
      <dgm:spPr/>
      <dgm:t>
        <a:bodyPr/>
        <a:lstStyle/>
        <a:p>
          <a:endParaRPr lang="en-US"/>
        </a:p>
      </dgm:t>
    </dgm:pt>
    <dgm:pt modelId="{B456A0B2-CDF2-AA4B-A13B-7EA18D45CC6E}" type="sibTrans" cxnId="{351C6591-5EA2-0A48-BAE0-E25BFA4EA086}">
      <dgm:prSet/>
      <dgm:spPr/>
      <dgm:t>
        <a:bodyPr/>
        <a:lstStyle/>
        <a:p>
          <a:endParaRPr lang="en-US"/>
        </a:p>
      </dgm:t>
    </dgm:pt>
    <dgm:pt modelId="{0948AFA1-D1D9-425A-B42B-48C017E74EDD}" type="pres">
      <dgm:prSet presAssocID="{2667C42F-BE9B-4C89-850A-8EDA512359F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60921E6-3D40-4E15-B46E-0D09445EC6C3}" type="pres">
      <dgm:prSet presAssocID="{7082B9E2-EE03-4E37-BD71-0B9426AF9CF1}" presName="composite" presStyleCnt="0"/>
      <dgm:spPr/>
    </dgm:pt>
    <dgm:pt modelId="{A3787940-F515-4C02-BC17-ECE5D6EA1DA0}" type="pres">
      <dgm:prSet presAssocID="{7082B9E2-EE03-4E37-BD71-0B9426AF9CF1}" presName="imgShp" presStyleLbl="fgImgPlace1" presStyleIdx="0" presStyleCnt="2"/>
      <dgm:spPr/>
      <dgm:t>
        <a:bodyPr/>
        <a:lstStyle/>
        <a:p>
          <a:endParaRPr lang="en-US"/>
        </a:p>
      </dgm:t>
    </dgm:pt>
    <dgm:pt modelId="{FA031AC0-D6F0-47E2-8D33-DF4DC3373D22}" type="pres">
      <dgm:prSet presAssocID="{7082B9E2-EE03-4E37-BD71-0B9426AF9CF1}" presName="tx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5C51A9-31BC-4A2C-BBF1-38B5E664FE70}" type="pres">
      <dgm:prSet presAssocID="{F70E286B-3AC9-4DB2-A215-393DA91D577E}" presName="spacing" presStyleCnt="0"/>
      <dgm:spPr/>
    </dgm:pt>
    <dgm:pt modelId="{76D3AE7E-9527-4895-9433-225A172A09CE}" type="pres">
      <dgm:prSet presAssocID="{4D12CEAB-ADBD-48DB-8F93-F056BC813110}" presName="composite" presStyleCnt="0"/>
      <dgm:spPr/>
    </dgm:pt>
    <dgm:pt modelId="{940AD057-B75D-44C8-B918-00E21A2163FD}" type="pres">
      <dgm:prSet presAssocID="{4D12CEAB-ADBD-48DB-8F93-F056BC813110}" presName="imgShp" presStyleLbl="fgImgPlace1" presStyleIdx="1" presStyleCnt="2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1340E760-6E91-423E-9BC7-CAF36A305646}" type="pres">
      <dgm:prSet presAssocID="{4D12CEAB-ADBD-48DB-8F93-F056BC813110}" presName="tx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23D64D-4F21-7348-A596-1B7FE5E53C14}" srcId="{4D12CEAB-ADBD-48DB-8F93-F056BC813110}" destId="{DB15ABE6-94EE-6A45-88BA-2A2922C7045B}" srcOrd="0" destOrd="0" parTransId="{1DA47922-55F7-0043-8FAE-4B2322864229}" sibTransId="{B6577C2C-0FF2-B147-8C98-69E3DD3F3CBE}"/>
    <dgm:cxn modelId="{72AB39AE-E69F-894E-A52C-B146BC4D2C39}" type="presOf" srcId="{5B51CEE7-9A77-451F-BE14-9570516551F7}" destId="{1340E760-6E91-423E-9BC7-CAF36A305646}" srcOrd="0" destOrd="3" presId="urn:microsoft.com/office/officeart/2005/8/layout/vList3"/>
    <dgm:cxn modelId="{1569F36D-DB37-9840-964F-71985A062DC4}" type="presOf" srcId="{4D12CEAB-ADBD-48DB-8F93-F056BC813110}" destId="{1340E760-6E91-423E-9BC7-CAF36A305646}" srcOrd="0" destOrd="0" presId="urn:microsoft.com/office/officeart/2005/8/layout/vList3"/>
    <dgm:cxn modelId="{844C5BAA-25CC-B740-8475-F7062F3FB4FD}" srcId="{7082B9E2-EE03-4E37-BD71-0B9426AF9CF1}" destId="{D5197309-4F9B-5741-8D12-0715DD157EE7}" srcOrd="0" destOrd="0" parTransId="{2FAA576E-4978-B14F-A51A-4B518B5B03C3}" sibTransId="{9F23BDFF-739D-094A-B654-62FAA578292F}"/>
    <dgm:cxn modelId="{DB2B1834-FD78-4169-A99E-E709FE511571}" srcId="{4D12CEAB-ADBD-48DB-8F93-F056BC813110}" destId="{5B51CEE7-9A77-451F-BE14-9570516551F7}" srcOrd="2" destOrd="0" parTransId="{FA89618E-E5E7-487C-BCF9-B2E0928A87D7}" sibTransId="{12F46A41-081D-4952-921E-4DD3912B7F99}"/>
    <dgm:cxn modelId="{4AE9963F-7963-B24E-84BA-893D8DADCAA7}" type="presOf" srcId="{8AE56840-325E-6941-91F9-0806202B2950}" destId="{1340E760-6E91-423E-9BC7-CAF36A305646}" srcOrd="0" destOrd="4" presId="urn:microsoft.com/office/officeart/2005/8/layout/vList3"/>
    <dgm:cxn modelId="{351C6591-5EA2-0A48-BAE0-E25BFA4EA086}" srcId="{7082B9E2-EE03-4E37-BD71-0B9426AF9CF1}" destId="{11EDF870-E448-5341-AF63-84034EF6FBD6}" srcOrd="2" destOrd="0" parTransId="{62D15B96-522E-1B43-BE88-3B25102D88FC}" sibTransId="{B456A0B2-CDF2-AA4B-A13B-7EA18D45CC6E}"/>
    <dgm:cxn modelId="{C34D4C86-7821-2140-ADBF-52B5DACD34EB}" type="presOf" srcId="{7082B9E2-EE03-4E37-BD71-0B9426AF9CF1}" destId="{FA031AC0-D6F0-47E2-8D33-DF4DC3373D22}" srcOrd="0" destOrd="0" presId="urn:microsoft.com/office/officeart/2005/8/layout/vList3"/>
    <dgm:cxn modelId="{C2EB2ACA-7A6C-5E43-8493-01CD5761AACC}" srcId="{4D12CEAB-ADBD-48DB-8F93-F056BC813110}" destId="{8AE56840-325E-6941-91F9-0806202B2950}" srcOrd="3" destOrd="0" parTransId="{935D2153-F532-5F4C-905F-8ED56FE9A7B7}" sibTransId="{50D08C7D-27A5-D144-96BC-326EA155AE9A}"/>
    <dgm:cxn modelId="{8EEE8886-1E91-428A-B6CA-A3037B9F503E}" srcId="{2667C42F-BE9B-4C89-850A-8EDA512359FF}" destId="{4D12CEAB-ADBD-48DB-8F93-F056BC813110}" srcOrd="1" destOrd="0" parTransId="{467336C2-5221-4280-8CEA-EB5D0E403F28}" sibTransId="{453B0F3B-65DF-4C62-A679-F4B897283D7D}"/>
    <dgm:cxn modelId="{AD6347FA-B16A-EC45-AF68-DA54D8562A70}" type="presOf" srcId="{2EA58E50-4332-EE48-AE24-DD7512A4BAD2}" destId="{FA031AC0-D6F0-47E2-8D33-DF4DC3373D22}" srcOrd="0" destOrd="2" presId="urn:microsoft.com/office/officeart/2005/8/layout/vList3"/>
    <dgm:cxn modelId="{9E93D486-9F59-A245-AF3A-4789F69EFDFF}" srcId="{7082B9E2-EE03-4E37-BD71-0B9426AF9CF1}" destId="{2EA58E50-4332-EE48-AE24-DD7512A4BAD2}" srcOrd="1" destOrd="0" parTransId="{E92740D9-1A38-F94A-BE46-4635026A34EA}" sibTransId="{83321431-2062-1E49-BB65-5E9AADD277DD}"/>
    <dgm:cxn modelId="{84B98E16-96F3-A041-BAD4-5C842BC238CC}" type="presOf" srcId="{11EDF870-E448-5341-AF63-84034EF6FBD6}" destId="{FA031AC0-D6F0-47E2-8D33-DF4DC3373D22}" srcOrd="0" destOrd="3" presId="urn:microsoft.com/office/officeart/2005/8/layout/vList3"/>
    <dgm:cxn modelId="{C6840999-9C8E-3F43-8418-A2131125E431}" type="presOf" srcId="{2667C42F-BE9B-4C89-850A-8EDA512359FF}" destId="{0948AFA1-D1D9-425A-B42B-48C017E74EDD}" srcOrd="0" destOrd="0" presId="urn:microsoft.com/office/officeart/2005/8/layout/vList3"/>
    <dgm:cxn modelId="{9811A17A-09DA-D14C-A99B-4E46A1FF69D3}" type="presOf" srcId="{D5197309-4F9B-5741-8D12-0715DD157EE7}" destId="{FA031AC0-D6F0-47E2-8D33-DF4DC3373D22}" srcOrd="0" destOrd="1" presId="urn:microsoft.com/office/officeart/2005/8/layout/vList3"/>
    <dgm:cxn modelId="{E91D60FA-42D6-4748-8D9B-9513FBAF35BF}" srcId="{4D12CEAB-ADBD-48DB-8F93-F056BC813110}" destId="{C7BE1561-5591-6348-B0FF-F116EB7B1F33}" srcOrd="1" destOrd="0" parTransId="{D8736614-0EB6-DA43-A409-41A4033B2D3F}" sibTransId="{3729AEF9-80B8-9B4B-B78A-3D5498782783}"/>
    <dgm:cxn modelId="{09750F09-D802-6040-98B0-3131B9C9CE02}" type="presOf" srcId="{C7BE1561-5591-6348-B0FF-F116EB7B1F33}" destId="{1340E760-6E91-423E-9BC7-CAF36A305646}" srcOrd="0" destOrd="2" presId="urn:microsoft.com/office/officeart/2005/8/layout/vList3"/>
    <dgm:cxn modelId="{7EB40196-E052-2040-ABA7-0C3A9B27372B}" type="presOf" srcId="{DB15ABE6-94EE-6A45-88BA-2A2922C7045B}" destId="{1340E760-6E91-423E-9BC7-CAF36A305646}" srcOrd="0" destOrd="1" presId="urn:microsoft.com/office/officeart/2005/8/layout/vList3"/>
    <dgm:cxn modelId="{C16D0F0C-A66C-4F5D-9B95-7D7D39EDB88E}" srcId="{2667C42F-BE9B-4C89-850A-8EDA512359FF}" destId="{7082B9E2-EE03-4E37-BD71-0B9426AF9CF1}" srcOrd="0" destOrd="0" parTransId="{9239E182-56D8-4BC6-ABAC-98FA174B3B68}" sibTransId="{F70E286B-3AC9-4DB2-A215-393DA91D577E}"/>
    <dgm:cxn modelId="{BAF21045-A5E4-DA4E-A85F-F209E504458D}" type="presParOf" srcId="{0948AFA1-D1D9-425A-B42B-48C017E74EDD}" destId="{360921E6-3D40-4E15-B46E-0D09445EC6C3}" srcOrd="0" destOrd="0" presId="urn:microsoft.com/office/officeart/2005/8/layout/vList3"/>
    <dgm:cxn modelId="{66C4038F-AC11-274C-A3DF-FA0E23E80B2C}" type="presParOf" srcId="{360921E6-3D40-4E15-B46E-0D09445EC6C3}" destId="{A3787940-F515-4C02-BC17-ECE5D6EA1DA0}" srcOrd="0" destOrd="0" presId="urn:microsoft.com/office/officeart/2005/8/layout/vList3"/>
    <dgm:cxn modelId="{C5551F9F-A526-0B48-B10C-F0B50DC3FE4A}" type="presParOf" srcId="{360921E6-3D40-4E15-B46E-0D09445EC6C3}" destId="{FA031AC0-D6F0-47E2-8D33-DF4DC3373D22}" srcOrd="1" destOrd="0" presId="urn:microsoft.com/office/officeart/2005/8/layout/vList3"/>
    <dgm:cxn modelId="{B27D95F5-5A49-7445-8B0C-54F05B599403}" type="presParOf" srcId="{0948AFA1-D1D9-425A-B42B-48C017E74EDD}" destId="{2B5C51A9-31BC-4A2C-BBF1-38B5E664FE70}" srcOrd="1" destOrd="0" presId="urn:microsoft.com/office/officeart/2005/8/layout/vList3"/>
    <dgm:cxn modelId="{483DF8C1-7BD4-BB40-AF6B-E560BC10DD0B}" type="presParOf" srcId="{0948AFA1-D1D9-425A-B42B-48C017E74EDD}" destId="{76D3AE7E-9527-4895-9433-225A172A09CE}" srcOrd="2" destOrd="0" presId="urn:microsoft.com/office/officeart/2005/8/layout/vList3"/>
    <dgm:cxn modelId="{F514CD83-D8D4-D748-9709-7A3AF0F15258}" type="presParOf" srcId="{76D3AE7E-9527-4895-9433-225A172A09CE}" destId="{940AD057-B75D-44C8-B918-00E21A2163FD}" srcOrd="0" destOrd="0" presId="urn:microsoft.com/office/officeart/2005/8/layout/vList3"/>
    <dgm:cxn modelId="{8383B6FD-F742-9842-86B1-4AED65F8356D}" type="presParOf" srcId="{76D3AE7E-9527-4895-9433-225A172A09CE}" destId="{1340E760-6E91-423E-9BC7-CAF36A305646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031AC0-D6F0-47E2-8D33-DF4DC3373D22}">
      <dsp:nvSpPr>
        <dsp:cNvPr id="0" name=""/>
        <dsp:cNvSpPr/>
      </dsp:nvSpPr>
      <dsp:spPr>
        <a:xfrm rot="10800000">
          <a:off x="1928086" y="601"/>
          <a:ext cx="5744600" cy="192455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8675" tIns="91440" rIns="170688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i="0" kern="1200" dirty="0" smtClean="0"/>
            <a:t>Big Technical Goals</a:t>
          </a:r>
          <a:endParaRPr lang="en-US" sz="24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0" i="0" kern="1200" dirty="0" smtClean="0"/>
            <a:t>50% reduction </a:t>
          </a:r>
          <a:r>
            <a:rPr lang="en-US" sz="1900" kern="1200" dirty="0" smtClean="0"/>
            <a:t>in overall manufacturing costs</a:t>
          </a:r>
          <a:endParaRPr lang="en-US" sz="19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0" i="0" kern="1200" dirty="0" smtClean="0"/>
            <a:t>50% reduction in mass compared to SOA</a:t>
          </a:r>
          <a:endParaRPr lang="en-US" sz="190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Rapidly enable new capabilities </a:t>
          </a:r>
          <a:endParaRPr lang="en-US" sz="1900" kern="1200" dirty="0"/>
        </a:p>
      </dsp:txBody>
      <dsp:txXfrm rot="10800000">
        <a:off x="2409224" y="601"/>
        <a:ext cx="5263462" cy="1924554"/>
      </dsp:txXfrm>
    </dsp:sp>
    <dsp:sp modelId="{A3787940-F515-4C02-BC17-ECE5D6EA1DA0}">
      <dsp:nvSpPr>
        <dsp:cNvPr id="0" name=""/>
        <dsp:cNvSpPr/>
      </dsp:nvSpPr>
      <dsp:spPr>
        <a:xfrm>
          <a:off x="965809" y="601"/>
          <a:ext cx="1924554" cy="1924554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40E760-6E91-423E-9BC7-CAF36A305646}">
      <dsp:nvSpPr>
        <dsp:cNvPr id="0" name=""/>
        <dsp:cNvSpPr/>
      </dsp:nvSpPr>
      <dsp:spPr>
        <a:xfrm rot="10800000">
          <a:off x="1928086" y="2499649"/>
          <a:ext cx="5744600" cy="192455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8675" tIns="53340" rIns="99568" bIns="53340" numCol="1" spcCol="1270" anchor="t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i="0" kern="1200" dirty="0" smtClean="0"/>
            <a:t>Impact Goals</a:t>
          </a:r>
          <a:endParaRPr lang="en-US" sz="19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1" kern="1200" dirty="0" smtClean="0">
              <a:latin typeface="Arial"/>
              <a:cs typeface="Arial"/>
            </a:rPr>
            <a:t>Accelerate the adoption of LMSAM space technologies  </a:t>
          </a:r>
          <a:endParaRPr lang="en-US" sz="1400" b="1" kern="1200" dirty="0">
            <a:latin typeface="Arial"/>
            <a:cs typeface="Arial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1" kern="1200" dirty="0" smtClean="0">
              <a:solidFill>
                <a:srgbClr val="FFFFFF"/>
              </a:solidFill>
              <a:latin typeface="Arial"/>
              <a:cs typeface="Arial"/>
            </a:rPr>
            <a:t>Deliver innovative technologies that dramatically improve capabilities </a:t>
          </a:r>
          <a:endParaRPr lang="en-US" sz="1400" b="1" kern="1200" dirty="0">
            <a:solidFill>
              <a:srgbClr val="FFFFFF"/>
            </a:solidFill>
            <a:latin typeface="Arial"/>
            <a:cs typeface="Arial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1" i="0" kern="1200" dirty="0" smtClean="0">
              <a:latin typeface="Arial"/>
              <a:cs typeface="Arial"/>
            </a:rPr>
            <a:t>Increased payload to Mars</a:t>
          </a:r>
          <a:endParaRPr lang="en-US" sz="1400" b="1" kern="1200" dirty="0">
            <a:latin typeface="Arial"/>
            <a:cs typeface="Arial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b="1" kern="1200" dirty="0" smtClean="0">
              <a:latin typeface="Arial"/>
              <a:cs typeface="Arial"/>
            </a:rPr>
            <a:t>Increase resilience of space vehicles</a:t>
          </a:r>
          <a:endParaRPr lang="en-US" sz="1400" b="1" kern="1200" dirty="0">
            <a:latin typeface="Arial"/>
            <a:cs typeface="Arial"/>
          </a:endParaRPr>
        </a:p>
      </dsp:txBody>
      <dsp:txXfrm rot="10800000">
        <a:off x="2409224" y="2499649"/>
        <a:ext cx="5263462" cy="1924554"/>
      </dsp:txXfrm>
    </dsp:sp>
    <dsp:sp modelId="{940AD057-B75D-44C8-B918-00E21A2163FD}">
      <dsp:nvSpPr>
        <dsp:cNvPr id="0" name=""/>
        <dsp:cNvSpPr/>
      </dsp:nvSpPr>
      <dsp:spPr>
        <a:xfrm>
          <a:off x="965809" y="2499649"/>
          <a:ext cx="1924554" cy="1924554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6A2C5926-0C82-427D-B456-BB01069F60A4}" type="datetimeFigureOut">
              <a:rPr lang="en-US"/>
              <a:pPr>
                <a:defRPr/>
              </a:pPr>
              <a:t>6/21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57AED693-18B7-48F9-A765-0905F01B8D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6059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0AFDD62D-92C1-4CC1-9697-E390715F3A31}" type="datetimeFigureOut">
              <a:rPr lang="en-US"/>
              <a:pPr>
                <a:defRPr/>
              </a:pPr>
              <a:t>6/21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9271965F-9DF4-4BB4-A7DA-E7D5B682BE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9786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951CB-D45E-4509-AB36-99DF0568A09F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05F151D-113C-3A4D-9277-55E9E888C4FB}" type="datetime5">
              <a:rPr lang="en-US" smtClean="0"/>
              <a:t>21-Jun-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521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In-Space Propulsion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Continues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solar electric propulsion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development, high power hall thrusters; Initiates investments </a:t>
            </a:r>
            <a:r>
              <a:rPr lang="en-US" sz="1100" i="1" dirty="0">
                <a:solidFill>
                  <a:prstClr val="black"/>
                </a:solidFill>
                <a:latin typeface="Arial"/>
                <a:ea typeface="ＭＳ Ｐゴシック" charset="-128"/>
              </a:rPr>
              <a:t>in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nuclear thermal propulsion and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hybrid chemical propulsion systems</a:t>
            </a:r>
            <a:r>
              <a:rPr lang="en-US" sz="1100" dirty="0">
                <a:solidFill>
                  <a:srgbClr val="1F497D"/>
                </a:solidFill>
                <a:latin typeface="Arial"/>
                <a:ea typeface="ＭＳ Ｐゴシック" charset="-128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to decrease transit times; improve spacecraft safety and reliability and decrease cost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High Bandwidth Space Communication System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Includes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near and deep space optical communication</a:t>
            </a:r>
            <a:r>
              <a:rPr lang="en-US" sz="1100" i="1" dirty="0">
                <a:solidFill>
                  <a:prstClr val="black"/>
                </a:solidFill>
                <a:latin typeface="Arial"/>
                <a:ea typeface="ＭＳ Ｐゴシック" charset="-128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systems, advanced radio frequency communications, and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advanced photonics system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 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Advanced Life Support and Resource Utilization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Continuing to advance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closed loop life support systems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(&gt;98% wastewater to water), atmospheric capture and conversion to breathing air (&gt;75% CO</a:t>
            </a:r>
            <a:r>
              <a:rPr lang="en-US" sz="1100" baseline="-25000" dirty="0">
                <a:solidFill>
                  <a:prstClr val="black"/>
                </a:solidFill>
                <a:latin typeface="Arial"/>
                <a:ea typeface="ＭＳ Ｐゴシック" charset="-128"/>
              </a:rPr>
              <a:t>2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to O</a:t>
            </a:r>
            <a:r>
              <a:rPr lang="en-US" sz="1100" baseline="-25000" dirty="0">
                <a:solidFill>
                  <a:prstClr val="black"/>
                </a:solidFill>
                <a:latin typeface="Arial"/>
                <a:ea typeface="ＭＳ Ｐゴシック" charset="-128"/>
              </a:rPr>
              <a:t>2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), trash treatment and reuse, plant growth and waste treatment, habitat surface cleanliness,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regolith processing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and dust mitigation technologies, development of alternative biological foods and nutrient products and advanced habitats with radiation mitigation technologies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Entry Descent and Landing System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Continues development of advanced thermal protection system materials,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hypersonic and supersonic aerodynamic decelerators</a:t>
            </a:r>
            <a:r>
              <a:rPr lang="en-US" sz="1100" strike="sngStrike" dirty="0">
                <a:solidFill>
                  <a:prstClr val="black"/>
                </a:solidFill>
                <a:latin typeface="Arial"/>
                <a:ea typeface="ＭＳ Ｐゴシック" charset="-128"/>
              </a:rPr>
              <a:t>, precision landing and hazard avoidance technologies (sensors)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, </a:t>
            </a:r>
            <a:r>
              <a:rPr lang="en-US" sz="1100" strike="sngStrike" dirty="0">
                <a:solidFill>
                  <a:prstClr val="black"/>
                </a:solidFill>
                <a:latin typeface="Arial"/>
                <a:ea typeface="ＭＳ Ｐゴシック" charset="-128"/>
              </a:rPr>
              <a:t>supersonic parachute material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, </a:t>
            </a:r>
            <a:r>
              <a:rPr lang="en-US" sz="1100" dirty="0">
                <a:solidFill>
                  <a:srgbClr val="FF0000"/>
                </a:solidFill>
                <a:latin typeface="Arial"/>
                <a:ea typeface="ＭＳ Ｐゴシック" charset="-128"/>
              </a:rPr>
              <a:t>terrain relative navigation, advances in modeling and validation techniques, entry systems instrumentation,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and supersonic retro-propulsion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Space Robotic System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Advances in robotic sensing and perception, mobility and manipulation, rendezvous and docking, onboard and ground-based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autonomous capabilitie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will drive these goals and enable satellite servicing capabilities; including human system interaction and mobility, sensing and perception, and autonomous performance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Lightweight Space Structure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Includes composite structures for cryogenic fuel tanks, ultra-lightweight core structures, </a:t>
            </a:r>
            <a:r>
              <a:rPr lang="en-US" sz="1100" i="1" dirty="0">
                <a:solidFill>
                  <a:srgbClr val="FF0000"/>
                </a:solidFill>
                <a:latin typeface="Arial"/>
                <a:ea typeface="ＭＳ Ｐゴシック" charset="-128"/>
              </a:rPr>
              <a:t>deployable composite booms for small satellite applications, </a:t>
            </a:r>
            <a:r>
              <a:rPr lang="en-US" sz="1100" strike="sngStrike" dirty="0">
                <a:solidFill>
                  <a:prstClr val="black"/>
                </a:solidFill>
                <a:latin typeface="Arial"/>
                <a:ea typeface="ＭＳ Ｐゴシック" charset="-128"/>
              </a:rPr>
              <a:t>flexible materials for inflatable habitat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, multifunctional materials incorporating sensors and monitoring systems and </a:t>
            </a:r>
            <a:r>
              <a:rPr lang="en-US" sz="1100" i="1" dirty="0">
                <a:solidFill>
                  <a:srgbClr val="1F497D"/>
                </a:solidFill>
                <a:latin typeface="Arial"/>
                <a:ea typeface="ＭＳ Ｐゴシック" charset="-128"/>
              </a:rPr>
              <a:t>in-space robotic manufacturing and assembly of large scale structures, advanced metallic gears for next generation rovers.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Deep Space Navigation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Advanced atomic clocks, </a:t>
            </a:r>
            <a:r>
              <a:rPr lang="en-US" sz="1100" dirty="0">
                <a:solidFill>
                  <a:srgbClr val="00B050"/>
                </a:solidFill>
                <a:latin typeface="Arial"/>
                <a:ea typeface="ＭＳ Ｐゴシック" charset="-128"/>
              </a:rPr>
              <a:t>and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x-ray detectors</a:t>
            </a:r>
            <a:r>
              <a:rPr lang="en-US" sz="1100" strike="sngStrike" dirty="0">
                <a:solidFill>
                  <a:srgbClr val="00B050"/>
                </a:solidFill>
                <a:latin typeface="Arial"/>
                <a:ea typeface="ＭＳ Ｐゴシック" charset="-128"/>
              </a:rPr>
              <a:t>, and </a:t>
            </a:r>
            <a:r>
              <a:rPr lang="en-US" sz="1100" i="1" strike="sngStrike" dirty="0">
                <a:solidFill>
                  <a:srgbClr val="00B050"/>
                </a:solidFill>
                <a:latin typeface="Arial"/>
                <a:ea typeface="ＭＳ Ｐゴシック" charset="-128"/>
              </a:rPr>
              <a:t>fast optical light gyroscopes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for increased accuracy in deep space navigation</a:t>
            </a: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b="1" dirty="0">
              <a:solidFill>
                <a:prstClr val="black"/>
              </a:solidFill>
              <a:latin typeface="Arial"/>
              <a:ea typeface="ＭＳ Ｐゴシック" charset="-128"/>
            </a:endParaRPr>
          </a:p>
          <a:p>
            <a:pPr marL="342752" indent="-342752" defTabSz="457002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  <a:ea typeface="ＭＳ Ｐゴシック" charset="-128"/>
              </a:rPr>
              <a:t>Space Observatory Systems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 – </a:t>
            </a:r>
            <a:r>
              <a:rPr lang="en-US" sz="1100" i="1" dirty="0" err="1">
                <a:solidFill>
                  <a:srgbClr val="1F497D"/>
                </a:solidFill>
                <a:latin typeface="Arial"/>
                <a:ea typeface="ＭＳ Ｐゴシック" charset="-128"/>
              </a:rPr>
              <a:t>Coronograph</a:t>
            </a:r>
            <a:r>
              <a:rPr lang="en-US" sz="1100" dirty="0">
                <a:solidFill>
                  <a:srgbClr val="1F497D"/>
                </a:solidFill>
                <a:latin typeface="Arial"/>
                <a:ea typeface="ＭＳ Ｐゴシック" charset="-128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and </a:t>
            </a:r>
            <a:r>
              <a:rPr lang="en-US" sz="1100" i="1" dirty="0" err="1">
                <a:solidFill>
                  <a:srgbClr val="1F497D"/>
                </a:solidFill>
                <a:latin typeface="Arial"/>
                <a:ea typeface="ＭＳ Ｐゴシック" charset="-128"/>
              </a:rPr>
              <a:t>starshade</a:t>
            </a:r>
            <a:r>
              <a:rPr lang="en-US" sz="1100" dirty="0">
                <a:solidFill>
                  <a:srgbClr val="1F497D"/>
                </a:solidFill>
                <a:latin typeface="Arial"/>
                <a:ea typeface="ＭＳ Ｐゴシック" charset="-128"/>
              </a:rPr>
              <a:t> </a:t>
            </a:r>
            <a:r>
              <a:rPr lang="en-US" sz="1100" dirty="0">
                <a:solidFill>
                  <a:prstClr val="black"/>
                </a:solidFill>
                <a:latin typeface="Arial"/>
                <a:ea typeface="ＭＳ Ｐゴシック" charset="-128"/>
              </a:rPr>
              <a:t>technologies, mirror surface materials, and better control systems for space optics and detectors </a:t>
            </a:r>
          </a:p>
          <a:p>
            <a:endParaRPr lang="en-US" dirty="0">
              <a:latin typeface="Calibri" charset="0"/>
            </a:endParaRPr>
          </a:p>
        </p:txBody>
      </p:sp>
      <p:sp>
        <p:nvSpPr>
          <p:cNvPr id="79875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715" indent="-28566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638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99694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6749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3804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0859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7914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4970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274D6D5-3CF4-1F49-95B6-3AA231FC4E17}" type="slidenum">
              <a:rPr lang="en-US" sz="1200">
                <a:solidFill>
                  <a:srgbClr val="000000"/>
                </a:solidFill>
              </a:rPr>
              <a:pPr/>
              <a:t>5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9876" name="Date Placeholder 5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715" indent="-28566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638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99694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6749" indent="-228526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3804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0859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7914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4970" indent="-22852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0C4119CB-160C-2640-BF9C-3BDE7EE6CB31}" type="datetime1">
              <a:rPr lang="en-US" sz="1200">
                <a:solidFill>
                  <a:srgbClr val="000000"/>
                </a:solidFill>
              </a:rPr>
              <a:pPr/>
              <a:t>6/21/16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21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1376" indent="-28514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0578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6810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3042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09272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65504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1736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77967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7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2" y="5034878"/>
            <a:ext cx="5974023" cy="247748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2DFB5F0-59A2-0144-9675-5C2BEA3CA283}" type="datetime5">
              <a:rPr lang="en-US" smtClean="0"/>
              <a:t>21-Jun-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6040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1376" indent="-28514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0578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6810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3042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09272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65504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1736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77967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8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2" y="5034878"/>
            <a:ext cx="5974023" cy="247748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2DFB5F0-59A2-0144-9675-5C2BEA3CA283}" type="datetime5">
              <a:rPr lang="en-US" smtClean="0">
                <a:solidFill>
                  <a:prstClr val="black"/>
                </a:solidFill>
                <a:latin typeface="Calibri"/>
              </a:rPr>
              <a:pPr/>
              <a:t>21-Jun-1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698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1376" indent="-28514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0578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6810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3042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09272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65504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1736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77967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11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2" y="5034878"/>
            <a:ext cx="5974023" cy="247748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2DFB5F0-59A2-0144-9675-5C2BEA3CA283}" type="datetime5">
              <a:rPr lang="en-US" smtClean="0">
                <a:solidFill>
                  <a:prstClr val="black"/>
                </a:solidFill>
                <a:latin typeface="Calibri"/>
              </a:rPr>
              <a:pPr/>
              <a:t>21-Jun-1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7604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tronaut</a:t>
            </a:r>
            <a:r>
              <a:rPr lang="en-US" baseline="0" dirty="0" smtClean="0"/>
              <a:t> Jeffrey Hoffman, anchored to the end of the shuttle </a:t>
            </a:r>
            <a:r>
              <a:rPr lang="en-US" baseline="0" dirty="0" err="1" smtClean="0"/>
              <a:t>Endeavoru’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</a:t>
            </a:r>
            <a:r>
              <a:rPr lang="en-US" baseline="0" dirty="0" smtClean="0"/>
              <a:t> arm, prepares to install the Wide Field Camera 2 on Hubble.</a:t>
            </a:r>
          </a:p>
          <a:p>
            <a:r>
              <a:rPr lang="en-US" dirty="0" smtClean="0"/>
              <a:t>http://</a:t>
            </a:r>
            <a:r>
              <a:rPr lang="en-US" dirty="0" err="1" smtClean="0"/>
              <a:t>www.cbsnews.com</a:t>
            </a:r>
            <a:r>
              <a:rPr lang="en-US" dirty="0" smtClean="0"/>
              <a:t>/news/hubble-space-telescope-marks-25-years-in-orbit/ </a:t>
            </a:r>
          </a:p>
          <a:p>
            <a:endParaRPr lang="en-US" dirty="0" smtClean="0"/>
          </a:p>
          <a:p>
            <a:r>
              <a:rPr lang="en-US" dirty="0" smtClean="0"/>
              <a:t>Hubble Images</a:t>
            </a:r>
            <a:r>
              <a:rPr lang="en-US" baseline="0" dirty="0" smtClean="0"/>
              <a:t> before and after the STS-61 mission</a:t>
            </a:r>
          </a:p>
          <a:p>
            <a:r>
              <a:rPr lang="en-US" baseline="0" dirty="0" smtClean="0"/>
              <a:t>https://</a:t>
            </a:r>
            <a:r>
              <a:rPr lang="en-US" baseline="0" dirty="0" err="1" smtClean="0"/>
              <a:t>en.wikipedia.org</a:t>
            </a:r>
            <a:r>
              <a:rPr lang="en-US" baseline="0" dirty="0" smtClean="0"/>
              <a:t>/wiki/STS-61 </a:t>
            </a:r>
          </a:p>
          <a:p>
            <a:endParaRPr lang="en-US" baseline="0" dirty="0" smtClean="0"/>
          </a:p>
          <a:p>
            <a:r>
              <a:rPr lang="en-US" baseline="0" dirty="0" smtClean="0"/>
              <a:t>Orbital Express</a:t>
            </a:r>
          </a:p>
          <a:p>
            <a:r>
              <a:rPr lang="en-US" baseline="0" dirty="0" smtClean="0"/>
              <a:t>http://</a:t>
            </a:r>
            <a:r>
              <a:rPr lang="en-US" baseline="0" dirty="0" err="1" smtClean="0"/>
              <a:t>www.vacco.com</a:t>
            </a:r>
            <a:r>
              <a:rPr lang="en-US" baseline="0" dirty="0" smtClean="0"/>
              <a:t>/space/couplings-and-disconnects </a:t>
            </a:r>
          </a:p>
          <a:p>
            <a:endParaRPr lang="en-US" baseline="0" dirty="0" smtClean="0"/>
          </a:p>
          <a:p>
            <a:r>
              <a:rPr lang="en-US" smtClean="0"/>
              <a:t>Astronaut </a:t>
            </a:r>
            <a:r>
              <a:rPr lang="en-US" dirty="0" smtClean="0"/>
              <a:t>Jerry</a:t>
            </a:r>
            <a:r>
              <a:rPr lang="en-US" baseline="0" dirty="0" smtClean="0"/>
              <a:t> L., Ross secured to the RMS, approaches the ACCESS Structure during STS</a:t>
            </a:r>
            <a:r>
              <a:rPr lang="en-US" baseline="0" smtClean="0"/>
              <a:t>-61B (1985)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BA3F4F-E292-CB4D-94C3-313ADC9F93E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807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anel Package Chart 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2F4877-7531-F548-9E87-A0047AFB996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524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1376" indent="-28514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0578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96810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3042" indent="-228116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09272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65504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1736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77967" indent="-228116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prstClr val="black"/>
                </a:solidFill>
              </a:rPr>
              <a:pPr eaLnBrk="1" hangingPunct="1"/>
              <a:t>16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2" y="5034878"/>
            <a:ext cx="5974023" cy="247748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2DFB5F0-59A2-0144-9675-5C2BEA3CA283}" type="datetime5">
              <a:rPr lang="en-US" smtClean="0">
                <a:solidFill>
                  <a:prstClr val="black"/>
                </a:solidFill>
                <a:latin typeface="Calibri"/>
              </a:rPr>
              <a:pPr/>
              <a:t>21-Jun-1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0984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35332-7476-470F-ADD8-8C0FA8E81AB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853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6727" y="4343400"/>
            <a:ext cx="5015336" cy="1967340"/>
          </a:xfrm>
          <a:ln>
            <a:noFill/>
          </a:ln>
        </p:spPr>
        <p:txBody>
          <a:bodyPr anchor="t">
            <a:normAutofit/>
          </a:bodyPr>
          <a:lstStyle>
            <a:lvl1pPr algn="l">
              <a:defRPr sz="20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itle 1"/>
          <p:cNvSpPr txBox="1">
            <a:spLocks/>
          </p:cNvSpPr>
          <p:nvPr userDrawn="1"/>
        </p:nvSpPr>
        <p:spPr bwMode="auto">
          <a:xfrm>
            <a:off x="424368" y="1496657"/>
            <a:ext cx="8399368" cy="425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7500"/>
          </a:bodyPr>
          <a:lstStyle/>
          <a:p>
            <a:pPr algn="ctr"/>
            <a:r>
              <a:rPr lang="en-US" sz="2000" b="0" dirty="0" smtClean="0">
                <a:solidFill>
                  <a:schemeClr val="bg1"/>
                </a:solidFill>
              </a:rPr>
              <a:t>GAME CHANGING DEVELOPMENT PROGRAM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32416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338146"/>
            <a:ext cx="5111750" cy="4788017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509024"/>
            <a:ext cx="3008313" cy="361713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92819"/>
            <a:ext cx="5486400" cy="363475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193180"/>
            <a:ext cx="2057400" cy="4932983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82029"/>
            <a:ext cx="6019800" cy="4944134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19747" y="6334047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5AB159D3-CC69-459A-A756-38900C589D61}" type="datetime1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21/16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03B832E3-8C39-492D-B877-0E7BABDD06E0}" type="slidenum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84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705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3064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dio Visual 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600200" y="5410200"/>
            <a:ext cx="6096000" cy="732508"/>
          </a:xfrm>
        </p:spPr>
        <p:txBody>
          <a:bodyPr>
            <a:spAutoFit/>
          </a:bodyPr>
          <a:lstStyle>
            <a:lvl1pPr marL="0" indent="0">
              <a:buNone/>
              <a:defRPr sz="2000" b="1"/>
            </a:lvl1pPr>
            <a:lvl2pPr>
              <a:defRPr sz="1800"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1"/>
          </p:nvPr>
        </p:nvSpPr>
        <p:spPr>
          <a:xfrm>
            <a:off x="1600200" y="1295400"/>
            <a:ext cx="6019800" cy="3505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667000" y="152400"/>
            <a:ext cx="3505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Audio Visual Check</a:t>
            </a:r>
            <a:endParaRPr lang="en-US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783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9758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985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760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7694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282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0365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1630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4687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384" y="1"/>
            <a:ext cx="8846915" cy="4587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612469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3A6A015-D8BD-4962-994E-6940FF2BE1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52400" y="755650"/>
            <a:ext cx="8775700" cy="579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3pPr marL="292100" indent="-238125">
              <a:defRPr/>
            </a:lvl3pPr>
            <a:lvl4pPr marL="520700" indent="-168275">
              <a:defRPr/>
            </a:lvl4pPr>
            <a:lvl5pPr marL="749300" indent="-168275">
              <a:defRPr/>
            </a:lvl5pPr>
          </a:lstStyle>
          <a:p>
            <a:pPr lvl="0"/>
            <a:r>
              <a:rPr lang="en-US" dirty="0" smtClean="0"/>
              <a:t>Click to         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4803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2" y="0"/>
            <a:ext cx="8834437" cy="458788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94982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342900" indent="-228600"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612469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F0895D8-2E3B-4EC3-8F94-B7A4F8CC3C98}" type="slidenum">
              <a:rPr lang="en-US">
                <a:solidFill>
                  <a:srgbClr val="1D528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D52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908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2" y="0"/>
            <a:ext cx="8834437" cy="4587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AutoShape 2"/>
          <p:cNvSpPr>
            <a:spLocks noChangeAspect="1" noChangeArrowheads="1"/>
          </p:cNvSpPr>
          <p:nvPr userDrawn="1"/>
        </p:nvSpPr>
        <p:spPr bwMode="auto">
          <a:xfrm>
            <a:off x="7635049" y="3797402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24" name="AutoShape 3"/>
          <p:cNvSpPr>
            <a:spLocks noChangeArrowheads="1"/>
          </p:cNvSpPr>
          <p:nvPr userDrawn="1"/>
        </p:nvSpPr>
        <p:spPr bwMode="auto">
          <a:xfrm>
            <a:off x="6828522" y="1225415"/>
            <a:ext cx="2221358" cy="2497500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5" name="AutoShape 4"/>
          <p:cNvSpPr>
            <a:spLocks noChangeArrowheads="1"/>
          </p:cNvSpPr>
          <p:nvPr userDrawn="1"/>
        </p:nvSpPr>
        <p:spPr bwMode="auto">
          <a:xfrm>
            <a:off x="2851150" y="2677887"/>
            <a:ext cx="3549650" cy="4023360"/>
          </a:xfrm>
          <a:prstGeom prst="roundRect">
            <a:avLst>
              <a:gd name="adj" fmla="val 7963"/>
            </a:avLst>
          </a:prstGeom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tIns="91440" bIns="91440">
            <a:prstTxWarp prst="textNoShape">
              <a:avLst/>
            </a:prstTxWarp>
          </a:bodyPr>
          <a:lstStyle/>
          <a:p>
            <a:pPr marL="114300" indent="-114300"/>
            <a:endParaRPr lang="en-US" sz="1200" u="sng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8" name="AutoShape 6"/>
          <p:cNvSpPr>
            <a:spLocks noChangeArrowheads="1"/>
          </p:cNvSpPr>
          <p:nvPr userDrawn="1"/>
        </p:nvSpPr>
        <p:spPr bwMode="auto">
          <a:xfrm>
            <a:off x="233997" y="3918858"/>
            <a:ext cx="2217040" cy="2743201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>
              <a:lnSpc>
                <a:spcPct val="90000"/>
              </a:lnSpc>
              <a:spcBef>
                <a:spcPct val="35000"/>
              </a:spcBef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2" name="AutoShape 9"/>
          <p:cNvSpPr>
            <a:spLocks noChangeAspect="1" noChangeArrowheads="1"/>
          </p:cNvSpPr>
          <p:nvPr userDrawn="1"/>
        </p:nvSpPr>
        <p:spPr bwMode="auto">
          <a:xfrm rot="16200000">
            <a:off x="2369419" y="4306776"/>
            <a:ext cx="615950" cy="363538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33" name="AutoShape 10"/>
          <p:cNvSpPr>
            <a:spLocks noChangeAspect="1" noChangeArrowheads="1"/>
          </p:cNvSpPr>
          <p:nvPr userDrawn="1"/>
        </p:nvSpPr>
        <p:spPr bwMode="auto">
          <a:xfrm rot="16200000">
            <a:off x="6324700" y="3211843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35" name="Text Box 22"/>
          <p:cNvSpPr txBox="1">
            <a:spLocks noChangeArrowheads="1"/>
          </p:cNvSpPr>
          <p:nvPr userDrawn="1"/>
        </p:nvSpPr>
        <p:spPr bwMode="auto">
          <a:xfrm rot="16200000">
            <a:off x="5840125" y="2044208"/>
            <a:ext cx="1821680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QUANTITATIVE IMPACT</a:t>
            </a:r>
          </a:p>
        </p:txBody>
      </p:sp>
      <p:sp>
        <p:nvSpPr>
          <p:cNvPr id="36" name="Text Box 23"/>
          <p:cNvSpPr txBox="1">
            <a:spLocks noChangeArrowheads="1"/>
          </p:cNvSpPr>
          <p:nvPr userDrawn="1"/>
        </p:nvSpPr>
        <p:spPr bwMode="auto">
          <a:xfrm rot="16200000">
            <a:off x="5910865" y="4958970"/>
            <a:ext cx="1669045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C00000"/>
                </a:solidFill>
                <a:latin typeface="Calibri"/>
                <a:cs typeface="Calibri"/>
              </a:rPr>
              <a:t>PROJECT GOAL</a:t>
            </a:r>
            <a:endParaRPr lang="en-US" sz="1400" b="1" dirty="0">
              <a:solidFill>
                <a:srgbClr val="C00000"/>
              </a:solidFill>
              <a:latin typeface="Calibri"/>
              <a:cs typeface="Calibri"/>
            </a:endParaRPr>
          </a:p>
        </p:txBody>
      </p:sp>
      <p:sp>
        <p:nvSpPr>
          <p:cNvPr id="38" name="Text Box 25"/>
          <p:cNvSpPr txBox="1">
            <a:spLocks noChangeArrowheads="1"/>
          </p:cNvSpPr>
          <p:nvPr userDrawn="1"/>
        </p:nvSpPr>
        <p:spPr bwMode="auto">
          <a:xfrm rot="16200000">
            <a:off x="-375308" y="2114295"/>
            <a:ext cx="1135062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STATUS QUO</a:t>
            </a:r>
          </a:p>
        </p:txBody>
      </p:sp>
      <p:sp>
        <p:nvSpPr>
          <p:cNvPr id="39" name="Text Box 26"/>
          <p:cNvSpPr txBox="1">
            <a:spLocks noChangeArrowheads="1"/>
          </p:cNvSpPr>
          <p:nvPr userDrawn="1"/>
        </p:nvSpPr>
        <p:spPr bwMode="auto">
          <a:xfrm rot="16200000">
            <a:off x="-668498" y="4839166"/>
            <a:ext cx="1643063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tabLst>
                <a:tab pos="1827213" algn="l"/>
              </a:tabLst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NEW </a:t>
            </a:r>
            <a:r>
              <a:rPr lang="en-US" sz="1400" b="1" dirty="0">
                <a:solidFill>
                  <a:srgbClr val="C00000"/>
                </a:solidFill>
                <a:latin typeface="Calibri"/>
                <a:ea typeface="ＭＳ Ｐゴシック" charset="-128"/>
                <a:cs typeface="Calibri"/>
              </a:rPr>
              <a:t>INSIGHTS</a:t>
            </a: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23066" y="1178524"/>
            <a:ext cx="2040673" cy="22700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>
              <a:buFont typeface="Arial"/>
              <a:buChar char="•"/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spcBef>
                <a:spcPts val="264"/>
              </a:spcBef>
              <a:buFont typeface="Calibri" pitchFamily="34" charset="0"/>
              <a:buChar char="–"/>
              <a:defRPr sz="11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2860417" y="1356945"/>
            <a:ext cx="3531116" cy="929056"/>
          </a:xfrm>
          <a:prstGeom prst="snip2Diag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>
            <a:off x="2964687" y="1022408"/>
            <a:ext cx="33225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C00000"/>
                </a:solidFill>
                <a:latin typeface="Calibri"/>
                <a:cs typeface="Calibri"/>
              </a:rPr>
              <a:t>PROBLEM / NEED BEING ADDRESSED</a:t>
            </a:r>
            <a:endParaRPr lang="en-US" sz="1600" b="1" u="sng" dirty="0">
              <a:solidFill>
                <a:srgbClr val="C00000"/>
              </a:solidFill>
              <a:latin typeface="Calibri"/>
              <a:cs typeface="Calibri"/>
            </a:endParaRPr>
          </a:p>
        </p:txBody>
      </p:sp>
      <p:sp>
        <p:nvSpPr>
          <p:cNvPr id="43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17438" y="3997235"/>
            <a:ext cx="2040673" cy="25864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09575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171450" indent="-171450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4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908555" y="1316056"/>
            <a:ext cx="2040673" cy="23023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6904841" y="4203006"/>
            <a:ext cx="2040673" cy="24068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6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2860418" y="1384826"/>
            <a:ext cx="3531114" cy="940363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None/>
              <a:defRPr sz="1600" b="0">
                <a:solidFill>
                  <a:srgbClr val="000000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2936566" y="2690951"/>
            <a:ext cx="3378818" cy="4010298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114300" indent="-114300">
              <a:buFont typeface="Arial"/>
              <a:buChar char="•"/>
              <a:defRPr lang="en-US" sz="16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409575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2pPr>
            <a:lvl3pPr>
              <a:spcBef>
                <a:spcPts val="336"/>
              </a:spcBef>
              <a:defRPr lang="en-US" sz="14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8" name="AutoShape 2"/>
          <p:cNvSpPr>
            <a:spLocks noChangeAspect="1" noChangeArrowheads="1"/>
          </p:cNvSpPr>
          <p:nvPr userDrawn="1"/>
        </p:nvSpPr>
        <p:spPr bwMode="auto">
          <a:xfrm>
            <a:off x="1007824" y="3518727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49" name="TextBox 48"/>
          <p:cNvSpPr txBox="1"/>
          <p:nvPr userDrawn="1"/>
        </p:nvSpPr>
        <p:spPr>
          <a:xfrm>
            <a:off x="3019244" y="2364376"/>
            <a:ext cx="3213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C00000"/>
                </a:solidFill>
                <a:latin typeface="Calibri"/>
                <a:ea typeface="ＭＳ Ｐゴシック" charset="-128"/>
                <a:cs typeface="Calibri"/>
              </a:rPr>
              <a:t>PROJECT DESCRIPTION/APPROACH</a:t>
            </a:r>
          </a:p>
        </p:txBody>
      </p:sp>
    </p:spTree>
    <p:extLst>
      <p:ext uri="{BB962C8B-B14F-4D97-AF65-F5344CB8AC3E}">
        <p14:creationId xmlns:p14="http://schemas.microsoft.com/office/powerpoint/2010/main" val="1988653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4155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870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6485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7770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1149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39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829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5335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Box 1035"/>
          <p:cNvSpPr txBox="1">
            <a:spLocks noChangeArrowheads="1"/>
          </p:cNvSpPr>
          <p:nvPr userDrawn="1"/>
        </p:nvSpPr>
        <p:spPr bwMode="auto">
          <a:xfrm>
            <a:off x="674688" y="6200775"/>
            <a:ext cx="3194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8" name="Text Box 1036"/>
          <p:cNvSpPr txBox="1">
            <a:spLocks noChangeArrowheads="1"/>
          </p:cNvSpPr>
          <p:nvPr userDrawn="1"/>
        </p:nvSpPr>
        <p:spPr bwMode="auto">
          <a:xfrm>
            <a:off x="750888" y="6339989"/>
            <a:ext cx="1841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1200" dirty="0"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0316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734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B4A8348-D322-473D-8DE7-144845920DD0}" type="datetime1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21/16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825014FC-AF85-43E9-A329-4B1E18B41162}" type="slidenum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679393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5AB159D3-CC69-459A-A756-38900C589D61}" type="datetime1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21/16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03B832E3-8C39-492D-B877-0E7BABDD06E0}" type="slidenum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88556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6239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2065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1431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3388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4002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473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4278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510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3739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6797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4503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384" y="1"/>
            <a:ext cx="8846915" cy="4587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612469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3A6A015-D8BD-4962-994E-6940FF2BE1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52400" y="755650"/>
            <a:ext cx="8775700" cy="579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3pPr marL="292100" indent="-238125">
              <a:defRPr/>
            </a:lvl3pPr>
            <a:lvl4pPr marL="520700" indent="-168275">
              <a:defRPr/>
            </a:lvl4pPr>
            <a:lvl5pPr marL="749300" indent="-168275">
              <a:defRPr/>
            </a:lvl5pPr>
          </a:lstStyle>
          <a:p>
            <a:pPr lvl="0"/>
            <a:r>
              <a:rPr lang="en-US" dirty="0" smtClean="0"/>
              <a:t>Click to         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403862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2" y="0"/>
            <a:ext cx="8834437" cy="458788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949825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342900" indent="-228600"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612469"/>
            <a:ext cx="2133600" cy="2444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F0895D8-2E3B-4EC3-8F94-B7A4F8CC3C98}" type="slidenum">
              <a:rPr lang="en-US">
                <a:solidFill>
                  <a:srgbClr val="1D528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1D52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653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2" y="0"/>
            <a:ext cx="8834437" cy="45878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AutoShape 2"/>
          <p:cNvSpPr>
            <a:spLocks noChangeAspect="1" noChangeArrowheads="1"/>
          </p:cNvSpPr>
          <p:nvPr userDrawn="1"/>
        </p:nvSpPr>
        <p:spPr bwMode="auto">
          <a:xfrm>
            <a:off x="7635049" y="3797402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24" name="AutoShape 3"/>
          <p:cNvSpPr>
            <a:spLocks noChangeArrowheads="1"/>
          </p:cNvSpPr>
          <p:nvPr userDrawn="1"/>
        </p:nvSpPr>
        <p:spPr bwMode="auto">
          <a:xfrm>
            <a:off x="6828522" y="1225415"/>
            <a:ext cx="2221358" cy="2497500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114300" indent="-114300" defTabSz="45720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5" name="AutoShape 4"/>
          <p:cNvSpPr>
            <a:spLocks noChangeArrowheads="1"/>
          </p:cNvSpPr>
          <p:nvPr userDrawn="1"/>
        </p:nvSpPr>
        <p:spPr bwMode="auto">
          <a:xfrm>
            <a:off x="2851150" y="2677887"/>
            <a:ext cx="3549650" cy="4023360"/>
          </a:xfrm>
          <a:prstGeom prst="roundRect">
            <a:avLst>
              <a:gd name="adj" fmla="val 7963"/>
            </a:avLst>
          </a:prstGeom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tIns="91440" bIns="91440">
            <a:prstTxWarp prst="textNoShape">
              <a:avLst/>
            </a:prstTxWarp>
          </a:bodyPr>
          <a:lstStyle/>
          <a:p>
            <a:pPr marL="114300" indent="-114300"/>
            <a:endParaRPr lang="en-US" sz="1200" u="sng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8" name="AutoShape 6"/>
          <p:cNvSpPr>
            <a:spLocks noChangeArrowheads="1"/>
          </p:cNvSpPr>
          <p:nvPr userDrawn="1"/>
        </p:nvSpPr>
        <p:spPr bwMode="auto">
          <a:xfrm>
            <a:off x="233997" y="3918858"/>
            <a:ext cx="2217040" cy="2743201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>
              <a:lnSpc>
                <a:spcPct val="90000"/>
              </a:lnSpc>
              <a:spcBef>
                <a:spcPct val="35000"/>
              </a:spcBef>
              <a:buFont typeface="Arial" pitchFamily="-107" charset="0"/>
              <a:buChar char="•"/>
            </a:pPr>
            <a:endParaRPr kumimoji="1" lang="en-US" sz="1000" i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2" name="AutoShape 9"/>
          <p:cNvSpPr>
            <a:spLocks noChangeAspect="1" noChangeArrowheads="1"/>
          </p:cNvSpPr>
          <p:nvPr userDrawn="1"/>
        </p:nvSpPr>
        <p:spPr bwMode="auto">
          <a:xfrm rot="16200000">
            <a:off x="2369419" y="4306776"/>
            <a:ext cx="615950" cy="363538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33" name="AutoShape 10"/>
          <p:cNvSpPr>
            <a:spLocks noChangeAspect="1" noChangeArrowheads="1"/>
          </p:cNvSpPr>
          <p:nvPr userDrawn="1"/>
        </p:nvSpPr>
        <p:spPr bwMode="auto">
          <a:xfrm rot="16200000">
            <a:off x="6324700" y="3211843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35" name="Text Box 22"/>
          <p:cNvSpPr txBox="1">
            <a:spLocks noChangeArrowheads="1"/>
          </p:cNvSpPr>
          <p:nvPr userDrawn="1"/>
        </p:nvSpPr>
        <p:spPr bwMode="auto">
          <a:xfrm rot="16200000">
            <a:off x="5840125" y="2044208"/>
            <a:ext cx="1821680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QUANTITATIVE IMPACT</a:t>
            </a:r>
          </a:p>
        </p:txBody>
      </p:sp>
      <p:sp>
        <p:nvSpPr>
          <p:cNvPr id="36" name="Text Box 23"/>
          <p:cNvSpPr txBox="1">
            <a:spLocks noChangeArrowheads="1"/>
          </p:cNvSpPr>
          <p:nvPr userDrawn="1"/>
        </p:nvSpPr>
        <p:spPr bwMode="auto">
          <a:xfrm rot="16200000">
            <a:off x="5910865" y="4958970"/>
            <a:ext cx="1669045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C00000"/>
                </a:solidFill>
                <a:latin typeface="Calibri"/>
                <a:cs typeface="Calibri"/>
              </a:rPr>
              <a:t>PROJECT GOAL</a:t>
            </a:r>
            <a:endParaRPr lang="en-US" sz="1400" b="1" dirty="0">
              <a:solidFill>
                <a:srgbClr val="C00000"/>
              </a:solidFill>
              <a:latin typeface="Calibri"/>
              <a:cs typeface="Calibri"/>
            </a:endParaRPr>
          </a:p>
        </p:txBody>
      </p:sp>
      <p:sp>
        <p:nvSpPr>
          <p:cNvPr id="38" name="Text Box 25"/>
          <p:cNvSpPr txBox="1">
            <a:spLocks noChangeArrowheads="1"/>
          </p:cNvSpPr>
          <p:nvPr userDrawn="1"/>
        </p:nvSpPr>
        <p:spPr bwMode="auto">
          <a:xfrm rot="16200000">
            <a:off x="-375308" y="2114295"/>
            <a:ext cx="1135062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STATUS QUO</a:t>
            </a:r>
          </a:p>
        </p:txBody>
      </p:sp>
      <p:sp>
        <p:nvSpPr>
          <p:cNvPr id="39" name="Text Box 26"/>
          <p:cNvSpPr txBox="1">
            <a:spLocks noChangeArrowheads="1"/>
          </p:cNvSpPr>
          <p:nvPr userDrawn="1"/>
        </p:nvSpPr>
        <p:spPr bwMode="auto">
          <a:xfrm rot="16200000">
            <a:off x="-668498" y="4839166"/>
            <a:ext cx="1643063" cy="17953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tabLst>
                <a:tab pos="1827213" algn="l"/>
              </a:tabLst>
            </a:pPr>
            <a:r>
              <a:rPr lang="en-US" sz="1400" b="1" dirty="0">
                <a:solidFill>
                  <a:srgbClr val="C00000"/>
                </a:solidFill>
                <a:latin typeface="Calibri"/>
                <a:cs typeface="Calibri"/>
              </a:rPr>
              <a:t>NEW </a:t>
            </a:r>
            <a:r>
              <a:rPr lang="en-US" sz="1400" b="1" dirty="0">
                <a:solidFill>
                  <a:srgbClr val="C00000"/>
                </a:solidFill>
                <a:latin typeface="Calibri"/>
                <a:ea typeface="ＭＳ Ｐゴシック" charset="-128"/>
                <a:cs typeface="Calibri"/>
              </a:rPr>
              <a:t>INSIGHTS</a:t>
            </a: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23066" y="1178524"/>
            <a:ext cx="2040673" cy="22700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>
              <a:buFont typeface="Arial"/>
              <a:buChar char="•"/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spcBef>
                <a:spcPts val="264"/>
              </a:spcBef>
              <a:buFont typeface="Calibri" pitchFamily="34" charset="0"/>
              <a:buChar char="–"/>
              <a:defRPr sz="11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2860417" y="1356945"/>
            <a:ext cx="3531116" cy="929056"/>
          </a:xfrm>
          <a:prstGeom prst="snip2Diag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>
            <a:off x="2964687" y="1022408"/>
            <a:ext cx="33225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C00000"/>
                </a:solidFill>
                <a:latin typeface="Calibri"/>
                <a:cs typeface="Calibri"/>
              </a:rPr>
              <a:t>PROBLEM / NEED BEING ADDRESSED</a:t>
            </a:r>
            <a:endParaRPr lang="en-US" sz="1600" b="1" u="sng" dirty="0">
              <a:solidFill>
                <a:srgbClr val="C00000"/>
              </a:solidFill>
              <a:latin typeface="Calibri"/>
              <a:cs typeface="Calibri"/>
            </a:endParaRPr>
          </a:p>
        </p:txBody>
      </p:sp>
      <p:sp>
        <p:nvSpPr>
          <p:cNvPr id="43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17438" y="3997235"/>
            <a:ext cx="2040673" cy="25864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09575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171450" indent="-171450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4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908555" y="1316056"/>
            <a:ext cx="2040673" cy="23023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6904841" y="4203006"/>
            <a:ext cx="2040673" cy="24068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lang="en-US" sz="11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  <a:lvl4pPr>
              <a:defRPr sz="1050"/>
            </a:lvl4pPr>
            <a:lvl5pPr>
              <a:defRPr sz="1050"/>
            </a:lvl5pPr>
          </a:lstStyle>
          <a:p>
            <a:pPr marL="114300" lvl="0" indent="-114300" algn="l" rtl="0" eaLnBrk="0" fontAlgn="base" hangingPunct="0">
              <a:spcBef>
                <a:spcPts val="1800"/>
              </a:spcBef>
              <a:spcAft>
                <a:spcPct val="0"/>
              </a:spcAft>
              <a:buFont typeface="Arial"/>
              <a:buChar char="•"/>
            </a:pPr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6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2860418" y="1384826"/>
            <a:ext cx="3531114" cy="940363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None/>
              <a:defRPr sz="1600" b="0">
                <a:solidFill>
                  <a:srgbClr val="000000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7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2936566" y="2690951"/>
            <a:ext cx="3378818" cy="4010298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114300" indent="-114300">
              <a:buFont typeface="Arial"/>
              <a:buChar char="•"/>
              <a:defRPr lang="en-US" sz="16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1pPr>
            <a:lvl2pPr marL="409575" indent="-285750">
              <a:defRPr lang="en-US" sz="1400" b="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2pPr>
            <a:lvl3pPr>
              <a:spcBef>
                <a:spcPts val="336"/>
              </a:spcBef>
              <a:defRPr lang="en-US" sz="1400" dirty="0" smtClean="0">
                <a:solidFill>
                  <a:srgbClr val="000000"/>
                </a:solidFill>
                <a:latin typeface="Calibri"/>
                <a:ea typeface="ＭＳ Ｐゴシック" charset="0"/>
                <a:cs typeface="Calibri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234950" lvl="2" indent="-111125" algn="l" rtl="0" eaLnBrk="0" fontAlgn="base" hangingPunct="0">
              <a:spcBef>
                <a:spcPts val="264"/>
              </a:spcBef>
              <a:spcAft>
                <a:spcPct val="0"/>
              </a:spcAft>
              <a:buSzPct val="90000"/>
              <a:buFont typeface="Calibri" pitchFamily="34" charset="0"/>
              <a:buChar char="–"/>
            </a:pPr>
            <a:r>
              <a:rPr lang="en-US" dirty="0" smtClean="0"/>
              <a:t>Second level</a:t>
            </a:r>
          </a:p>
        </p:txBody>
      </p:sp>
      <p:sp>
        <p:nvSpPr>
          <p:cNvPr id="48" name="AutoShape 2"/>
          <p:cNvSpPr>
            <a:spLocks noChangeAspect="1" noChangeArrowheads="1"/>
          </p:cNvSpPr>
          <p:nvPr userDrawn="1"/>
        </p:nvSpPr>
        <p:spPr bwMode="auto">
          <a:xfrm>
            <a:off x="1007824" y="3518727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700" b="1">
              <a:solidFill>
                <a:srgbClr val="952B1D"/>
              </a:solidFill>
              <a:latin typeface="Calibri"/>
              <a:cs typeface="Calibri"/>
            </a:endParaRPr>
          </a:p>
        </p:txBody>
      </p:sp>
      <p:sp>
        <p:nvSpPr>
          <p:cNvPr id="49" name="TextBox 48"/>
          <p:cNvSpPr txBox="1"/>
          <p:nvPr userDrawn="1"/>
        </p:nvSpPr>
        <p:spPr>
          <a:xfrm>
            <a:off x="3019244" y="2364376"/>
            <a:ext cx="3213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C00000"/>
                </a:solidFill>
                <a:latin typeface="Calibri"/>
                <a:ea typeface="ＭＳ Ｐゴシック" charset="-128"/>
                <a:cs typeface="Calibri"/>
              </a:rPr>
              <a:t>PROJECT DESCRIPTION/APPROACH</a:t>
            </a:r>
          </a:p>
        </p:txBody>
      </p:sp>
    </p:spTree>
    <p:extLst>
      <p:ext uri="{BB962C8B-B14F-4D97-AF65-F5344CB8AC3E}">
        <p14:creationId xmlns:p14="http://schemas.microsoft.com/office/powerpoint/2010/main" val="11147222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2082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8661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AutoShape 2"/>
          <p:cNvSpPr>
            <a:spLocks noChangeAspect="1" noChangeArrowheads="1"/>
          </p:cNvSpPr>
          <p:nvPr userDrawn="1"/>
        </p:nvSpPr>
        <p:spPr bwMode="auto">
          <a:xfrm>
            <a:off x="7635049" y="3797402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rtl="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700" b="1" kern="1200" dirty="0">
              <a:solidFill>
                <a:srgbClr val="952B1D"/>
              </a:solidFill>
              <a:latin typeface="Century Gothic" charset="0"/>
              <a:ea typeface="+mn-ea"/>
              <a:cs typeface="+mn-cs"/>
            </a:endParaRPr>
          </a:p>
        </p:txBody>
      </p:sp>
      <p:sp>
        <p:nvSpPr>
          <p:cNvPr id="4" name="AutoShape 3"/>
          <p:cNvSpPr>
            <a:spLocks noChangeArrowheads="1"/>
          </p:cNvSpPr>
          <p:nvPr userDrawn="1"/>
        </p:nvSpPr>
        <p:spPr bwMode="auto">
          <a:xfrm>
            <a:off x="6828522" y="1225415"/>
            <a:ext cx="2221358" cy="2497500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  <a:p>
            <a:pPr marL="114300" indent="-114300" algn="l" defTabSz="457200" rtl="0" fontAlgn="base">
              <a:lnSpc>
                <a:spcPct val="90000"/>
              </a:lnSpc>
              <a:spcBef>
                <a:spcPct val="35000"/>
              </a:spcBef>
              <a:spcAft>
                <a:spcPct val="0"/>
              </a:spcAft>
              <a:buFont typeface="Arial" pitchFamily="-107" charset="0"/>
              <a:buChar char="•"/>
            </a:pPr>
            <a:endParaRPr kumimoji="1" lang="en-US" sz="1000" i="1" kern="1200" dirty="0">
              <a:solidFill>
                <a:schemeClr val="dk1"/>
              </a:solidFill>
              <a:latin typeface="Arial" pitchFamily="-107" charset="0"/>
              <a:ea typeface="+mn-ea"/>
              <a:cs typeface="+mn-cs"/>
            </a:endParaRPr>
          </a:p>
        </p:txBody>
      </p:sp>
      <p:sp>
        <p:nvSpPr>
          <p:cNvPr id="5" name="AutoShape 4"/>
          <p:cNvSpPr>
            <a:spLocks noChangeArrowheads="1"/>
          </p:cNvSpPr>
          <p:nvPr userDrawn="1"/>
        </p:nvSpPr>
        <p:spPr bwMode="auto">
          <a:xfrm>
            <a:off x="2855717" y="2677887"/>
            <a:ext cx="3549650" cy="4023360"/>
          </a:xfrm>
          <a:prstGeom prst="roundRect">
            <a:avLst>
              <a:gd name="adj" fmla="val 7963"/>
            </a:avLst>
          </a:prstGeom>
          <a:ln>
            <a:solidFill>
              <a:schemeClr val="bg1">
                <a:lumMod val="65000"/>
              </a:schemeClr>
            </a:solidFill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tIns="91440" bIns="91440">
            <a:prstTxWarp prst="textNoShape">
              <a:avLst/>
            </a:prstTxWarp>
          </a:bodyPr>
          <a:lstStyle/>
          <a:p>
            <a:pPr marL="114300" indent="-114300"/>
            <a:endParaRPr lang="en-US" sz="1200" u="sng" dirty="0">
              <a:latin typeface="Arial" pitchFamily="-107" charset="0"/>
            </a:endParaRPr>
          </a:p>
        </p:txBody>
      </p:sp>
      <p:sp>
        <p:nvSpPr>
          <p:cNvPr id="6" name="AutoShape 6"/>
          <p:cNvSpPr>
            <a:spLocks noChangeArrowheads="1"/>
          </p:cNvSpPr>
          <p:nvPr userDrawn="1"/>
        </p:nvSpPr>
        <p:spPr bwMode="auto">
          <a:xfrm>
            <a:off x="233997" y="3918858"/>
            <a:ext cx="2217040" cy="2743201"/>
          </a:xfrm>
          <a:prstGeom prst="roundRect">
            <a:avLst>
              <a:gd name="adj" fmla="val 11111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00584" tIns="73152" rIns="64008" bIns="82296" anchor="b">
            <a:prstTxWarp prst="textNoShape">
              <a:avLst/>
            </a:prstTxWarp>
          </a:bodyPr>
          <a:lstStyle/>
          <a:p>
            <a:pPr marL="114300" indent="-114300">
              <a:lnSpc>
                <a:spcPct val="90000"/>
              </a:lnSpc>
              <a:spcBef>
                <a:spcPct val="35000"/>
              </a:spcBef>
              <a:buFont typeface="Arial" pitchFamily="-107" charset="0"/>
              <a:buChar char="•"/>
            </a:pPr>
            <a:endParaRPr kumimoji="1" lang="en-US" sz="1000" i="1" dirty="0">
              <a:latin typeface="Arial" pitchFamily="-107" charset="0"/>
            </a:endParaRPr>
          </a:p>
        </p:txBody>
      </p:sp>
      <p:sp>
        <p:nvSpPr>
          <p:cNvPr id="8" name="AutoShape 9"/>
          <p:cNvSpPr>
            <a:spLocks noChangeAspect="1" noChangeArrowheads="1"/>
          </p:cNvSpPr>
          <p:nvPr userDrawn="1"/>
        </p:nvSpPr>
        <p:spPr bwMode="auto">
          <a:xfrm rot="-5400000">
            <a:off x="2369419" y="4306776"/>
            <a:ext cx="615950" cy="363538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rtl="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700" b="1" kern="1200" dirty="0">
              <a:solidFill>
                <a:srgbClr val="952B1D"/>
              </a:solidFill>
              <a:latin typeface="Century Gothic" charset="0"/>
              <a:ea typeface="+mn-ea"/>
              <a:cs typeface="+mn-cs"/>
            </a:endParaRPr>
          </a:p>
        </p:txBody>
      </p:sp>
      <p:sp>
        <p:nvSpPr>
          <p:cNvPr id="9" name="AutoShape 10"/>
          <p:cNvSpPr>
            <a:spLocks noChangeAspect="1" noChangeArrowheads="1"/>
          </p:cNvSpPr>
          <p:nvPr userDrawn="1"/>
        </p:nvSpPr>
        <p:spPr bwMode="auto">
          <a:xfrm rot="-5400000">
            <a:off x="6324700" y="3211843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defTabSz="457200" rtl="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700" b="1" kern="1200" dirty="0">
              <a:solidFill>
                <a:srgbClr val="952B1D"/>
              </a:solidFill>
              <a:latin typeface="Century Gothic" charset="0"/>
              <a:ea typeface="+mn-ea"/>
              <a:cs typeface="+mn-cs"/>
            </a:endParaRPr>
          </a:p>
        </p:txBody>
      </p:sp>
      <p:sp>
        <p:nvSpPr>
          <p:cNvPr id="13" name="Text Box 22"/>
          <p:cNvSpPr txBox="1">
            <a:spLocks noChangeArrowheads="1"/>
          </p:cNvSpPr>
          <p:nvPr userDrawn="1"/>
        </p:nvSpPr>
        <p:spPr bwMode="auto">
          <a:xfrm rot="-5400000">
            <a:off x="5840125" y="2047008"/>
            <a:ext cx="1821680" cy="17393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algn="l"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+mj-lt"/>
              </a:rPr>
              <a:t>QUANTITATIVE IMPACT</a:t>
            </a:r>
          </a:p>
        </p:txBody>
      </p:sp>
      <p:sp>
        <p:nvSpPr>
          <p:cNvPr id="14" name="Text Box 23"/>
          <p:cNvSpPr txBox="1">
            <a:spLocks noChangeArrowheads="1"/>
          </p:cNvSpPr>
          <p:nvPr userDrawn="1"/>
        </p:nvSpPr>
        <p:spPr bwMode="auto">
          <a:xfrm rot="-5400000">
            <a:off x="5910865" y="4960412"/>
            <a:ext cx="1669045" cy="1766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</a:pPr>
            <a:r>
              <a:rPr lang="en-US" sz="1400" b="1" dirty="0" smtClean="0">
                <a:solidFill>
                  <a:srgbClr val="C00000"/>
                </a:solidFill>
                <a:latin typeface="+mj-lt"/>
              </a:rPr>
              <a:t>PROJECT GOAL</a:t>
            </a:r>
            <a:endParaRPr lang="en-US" sz="14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5" name="Text Box 25"/>
          <p:cNvSpPr txBox="1">
            <a:spLocks noChangeArrowheads="1"/>
          </p:cNvSpPr>
          <p:nvPr userDrawn="1"/>
        </p:nvSpPr>
        <p:spPr bwMode="auto">
          <a:xfrm rot="-5400000">
            <a:off x="-375308" y="2115737"/>
            <a:ext cx="1135062" cy="1766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C00000"/>
                </a:solidFill>
                <a:latin typeface="+mj-lt"/>
              </a:rPr>
              <a:t>STATUS QUO</a:t>
            </a:r>
          </a:p>
        </p:txBody>
      </p:sp>
      <p:sp>
        <p:nvSpPr>
          <p:cNvPr id="16" name="Text Box 26"/>
          <p:cNvSpPr txBox="1">
            <a:spLocks noChangeArrowheads="1"/>
          </p:cNvSpPr>
          <p:nvPr userDrawn="1"/>
        </p:nvSpPr>
        <p:spPr bwMode="auto">
          <a:xfrm rot="-5400000">
            <a:off x="-668498" y="4840608"/>
            <a:ext cx="1643063" cy="1766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tabLst>
                <a:tab pos="1827213" algn="l"/>
              </a:tabLst>
            </a:pPr>
            <a:r>
              <a:rPr lang="en-US" sz="1400" b="1" dirty="0">
                <a:solidFill>
                  <a:srgbClr val="C00000"/>
                </a:solidFill>
                <a:latin typeface="+mj-lt"/>
              </a:rPr>
              <a:t>NEW </a:t>
            </a:r>
            <a:r>
              <a:rPr lang="en-US" sz="1400" b="1" kern="1200" dirty="0">
                <a:solidFill>
                  <a:srgbClr val="C00000"/>
                </a:solidFill>
                <a:latin typeface="+mj-lt"/>
                <a:ea typeface="ＭＳ Ｐゴシック" charset="-128"/>
                <a:cs typeface="ＭＳ Ｐゴシック" charset="-128"/>
              </a:rPr>
              <a:t>INSIGHTS</a:t>
            </a:r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23066" y="1178524"/>
            <a:ext cx="2040673" cy="2270069"/>
          </a:xfrm>
        </p:spPr>
        <p:txBody>
          <a:bodyPr lIns="0" tIns="0" rIns="0" bIns="0">
            <a:noAutofit/>
          </a:bodyPr>
          <a:lstStyle>
            <a:lvl1pPr marL="111125" indent="-111125">
              <a:defRPr sz="1400"/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19" name="Snip Diagonal Corner Rectangle 18"/>
          <p:cNvSpPr/>
          <p:nvPr userDrawn="1"/>
        </p:nvSpPr>
        <p:spPr>
          <a:xfrm>
            <a:off x="2795452" y="1356945"/>
            <a:ext cx="3531116" cy="929056"/>
          </a:xfrm>
          <a:prstGeom prst="snip2Diag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2953346" y="1022408"/>
            <a:ext cx="33225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C00000"/>
                </a:solidFill>
                <a:latin typeface="+mj-lt"/>
              </a:rPr>
              <a:t>PROBLEM</a:t>
            </a:r>
            <a:r>
              <a:rPr lang="en-US" sz="1600" b="1" u="sng" baseline="0" dirty="0" smtClean="0">
                <a:solidFill>
                  <a:srgbClr val="C00000"/>
                </a:solidFill>
                <a:latin typeface="+mj-lt"/>
              </a:rPr>
              <a:t> / NEED BEING ADDRESSED</a:t>
            </a:r>
            <a:endParaRPr lang="en-US" sz="1600" b="1" u="sng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17438" y="3997235"/>
            <a:ext cx="2040673" cy="2586447"/>
          </a:xfrm>
        </p:spPr>
        <p:txBody>
          <a:bodyPr lIns="0" tIns="0" rIns="0" bIns="0">
            <a:noAutofit/>
          </a:bodyPr>
          <a:lstStyle>
            <a:lvl1pPr marL="111125" indent="-111125">
              <a:defRPr sz="1400"/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908555" y="1316056"/>
            <a:ext cx="2040673" cy="2302355"/>
          </a:xfrm>
        </p:spPr>
        <p:txBody>
          <a:bodyPr lIns="0" tIns="0" rIns="0" bIns="0">
            <a:noAutofit/>
          </a:bodyPr>
          <a:lstStyle>
            <a:lvl1pPr marL="111125" indent="-111125">
              <a:defRPr sz="1400"/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6904841" y="4203006"/>
            <a:ext cx="2040673" cy="2406802"/>
          </a:xfrm>
        </p:spPr>
        <p:txBody>
          <a:bodyPr lIns="0" tIns="0" rIns="0" bIns="0">
            <a:noAutofit/>
          </a:bodyPr>
          <a:lstStyle>
            <a:lvl1pPr marL="111125" indent="-111125">
              <a:defRPr sz="1400"/>
            </a:lvl1pPr>
            <a:lvl2pPr marL="111125" indent="-111125">
              <a:defRPr sz="1200"/>
            </a:lvl2pPr>
            <a:lvl3pPr marL="234950" indent="-111125">
              <a:buFont typeface="Calibri" pitchFamily="34" charset="0"/>
              <a:buChar char="–"/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2795452" y="1384826"/>
            <a:ext cx="3531114" cy="9403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8"/>
          </p:nvPr>
        </p:nvSpPr>
        <p:spPr>
          <a:xfrm>
            <a:off x="2953482" y="2690951"/>
            <a:ext cx="3378818" cy="4010298"/>
          </a:xfrm>
        </p:spPr>
        <p:txBody>
          <a:bodyPr>
            <a:normAutofit/>
          </a:bodyPr>
          <a:lstStyle>
            <a:lvl1pPr marL="111125" indent="-111125">
              <a:defRPr sz="1600"/>
            </a:lvl1pPr>
            <a:lvl2pPr marL="234950" indent="-111125">
              <a:defRPr sz="14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26" name="AutoShape 2"/>
          <p:cNvSpPr>
            <a:spLocks noChangeAspect="1" noChangeArrowheads="1"/>
          </p:cNvSpPr>
          <p:nvPr userDrawn="1"/>
        </p:nvSpPr>
        <p:spPr bwMode="auto">
          <a:xfrm>
            <a:off x="1007824" y="3518727"/>
            <a:ext cx="615950" cy="363537"/>
          </a:xfrm>
          <a:prstGeom prst="downArrow">
            <a:avLst>
              <a:gd name="adj1" fmla="val 53611"/>
              <a:gd name="adj2" fmla="val 53773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>
            <a:prstTxWarp prst="textNoShape">
              <a:avLst/>
            </a:prstTxWarp>
          </a:bodyPr>
          <a:lstStyle/>
          <a:p>
            <a:pPr algn="ctr" eaLnBrk="1" hangingPunct="1">
              <a:spcBef>
                <a:spcPct val="0"/>
              </a:spcBef>
            </a:pPr>
            <a:endParaRPr lang="en-US" sz="700" b="1" dirty="0">
              <a:solidFill>
                <a:srgbClr val="952B1D"/>
              </a:solidFill>
              <a:latin typeface="Century Gothic" charset="0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2965270" y="2364376"/>
            <a:ext cx="3213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1200" dirty="0" smtClean="0">
                <a:solidFill>
                  <a:srgbClr val="C00000"/>
                </a:solidFill>
                <a:latin typeface="+mj-lt"/>
                <a:ea typeface="ＭＳ Ｐゴシック" charset="-128"/>
                <a:cs typeface="ＭＳ Ｐゴシック" charset="-128"/>
              </a:rPr>
              <a:t>PROJECT DESCRIPTION/APPROACH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8164286" y="705394"/>
            <a:ext cx="979714" cy="2481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3822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275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5251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2002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62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4692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3946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534615"/>
            <a:ext cx="2263698" cy="323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3564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B4A8348-D322-473D-8DE7-144845920DD0}" type="datetime1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21/16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825014FC-AF85-43E9-A329-4B1E18B41162}" type="slidenum">
              <a:rPr lang="en-US" smtClean="0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374502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1554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 rot="5400000">
            <a:off x="1756318" y="3897351"/>
            <a:ext cx="56090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468351" y="3744958"/>
            <a:ext cx="825190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79142" y="970157"/>
            <a:ext cx="21828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Description and Objectives</a:t>
            </a:r>
            <a:endParaRPr lang="en-US" sz="14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86572" y="3754247"/>
            <a:ext cx="19393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Alignment</a:t>
            </a:r>
            <a:r>
              <a:rPr lang="en-US" sz="1400" b="1" baseline="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 and Infusion</a:t>
            </a:r>
            <a:endParaRPr lang="en-US" sz="14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568283" y="3754245"/>
            <a:ext cx="15464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Cost</a:t>
            </a:r>
            <a:r>
              <a:rPr lang="en-US" sz="1400" b="1" baseline="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 and </a:t>
            </a:r>
            <a:r>
              <a:rPr lang="en-US" sz="14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Schedule</a:t>
            </a:r>
            <a:endParaRPr lang="en-US" sz="14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738688" y="1058863"/>
            <a:ext cx="3970337" cy="257175"/>
          </a:xfrm>
        </p:spPr>
        <p:txBody>
          <a:bodyPr anchor="ctr">
            <a:noAutofit/>
          </a:bodyPr>
          <a:lstStyle>
            <a:lvl1pPr>
              <a:buNone/>
              <a:defRPr sz="14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Proposed Technology Approach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68313" y="1349375"/>
            <a:ext cx="3981450" cy="2286000"/>
          </a:xfrm>
        </p:spPr>
        <p:txBody>
          <a:bodyPr>
            <a:normAutofit/>
          </a:bodyPr>
          <a:lstStyle>
            <a:lvl1pPr marL="111125" indent="-111125">
              <a:defRPr sz="1600"/>
            </a:lvl1pPr>
            <a:lvl2pPr marL="234950" indent="-111125">
              <a:defRPr sz="1400"/>
            </a:lvl2pPr>
            <a:lvl3pPr marL="346075" indent="-111125"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464596" y="4111160"/>
            <a:ext cx="3981450" cy="2286000"/>
          </a:xfrm>
        </p:spPr>
        <p:txBody>
          <a:bodyPr>
            <a:normAutofit/>
          </a:bodyPr>
          <a:lstStyle>
            <a:lvl1pPr marL="111125" indent="-111125">
              <a:defRPr sz="1600"/>
            </a:lvl1pPr>
            <a:lvl2pPr marL="234950" indent="-111125">
              <a:defRPr sz="1400"/>
            </a:lvl2pPr>
            <a:lvl3pPr marL="346075" indent="-111125"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4"/>
          </p:nvPr>
        </p:nvSpPr>
        <p:spPr>
          <a:xfrm>
            <a:off x="4820549" y="4130886"/>
            <a:ext cx="3857625" cy="2263775"/>
          </a:xfrm>
        </p:spPr>
        <p:txBody>
          <a:bodyPr>
            <a:normAutofit/>
          </a:bodyPr>
          <a:lstStyle>
            <a:lvl1pPr marL="111125" indent="-111125">
              <a:defRPr sz="1600"/>
            </a:lvl1pPr>
            <a:lvl2pPr marL="234950" indent="-111125">
              <a:defRPr sz="1400"/>
            </a:lvl2pPr>
            <a:lvl3pPr marL="346075" indent="-111125">
              <a:defRPr sz="12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3" name="Content Placeholder 21"/>
          <p:cNvSpPr>
            <a:spLocks noGrp="1"/>
          </p:cNvSpPr>
          <p:nvPr>
            <p:ph sz="quarter" idx="15"/>
          </p:nvPr>
        </p:nvSpPr>
        <p:spPr>
          <a:xfrm>
            <a:off x="4794529" y="1372817"/>
            <a:ext cx="3857625" cy="2263775"/>
          </a:xfrm>
        </p:spPr>
        <p:txBody>
          <a:bodyPr>
            <a:normAutofit/>
          </a:bodyPr>
          <a:lstStyle>
            <a:lvl1pPr marL="111125" indent="-111125">
              <a:defRPr sz="1600"/>
            </a:lvl1pPr>
            <a:lvl2pPr marL="234950" indent="-111125">
              <a:defRPr sz="1400"/>
            </a:lvl2pPr>
            <a:lvl3pPr marL="346075" indent="-111125">
              <a:defRPr sz="12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15078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58348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15122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44055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84864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78038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00377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383576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51439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7969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459852" y="1095107"/>
            <a:ext cx="2190750" cy="1630362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9000" y="2856765"/>
            <a:ext cx="7404100" cy="2083535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164748" y="2858416"/>
            <a:ext cx="6081625" cy="534626"/>
          </a:xfrm>
        </p:spPr>
        <p:txBody>
          <a:bodyPr lIns="0" tIns="0" bIns="0">
            <a:noAutofit/>
          </a:bodyPr>
          <a:lstStyle>
            <a:lvl1pPr marL="0" indent="0">
              <a:buNone/>
              <a:defRPr sz="1200" b="1" u="none" baseline="0"/>
            </a:lvl1pPr>
          </a:lstStyle>
          <a:p>
            <a:pPr lvl="0"/>
            <a:r>
              <a:rPr lang="en-US" dirty="0" smtClean="0"/>
              <a:t>Idea	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39808" y="2865425"/>
            <a:ext cx="1216317" cy="16619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200" b="1" i="1" u="sng" dirty="0" smtClean="0">
                <a:latin typeface="+mj-lt"/>
              </a:rPr>
              <a:t>Idea:</a:t>
            </a:r>
          </a:p>
          <a:p>
            <a:pPr>
              <a:lnSpc>
                <a:spcPct val="100000"/>
              </a:lnSpc>
            </a:pPr>
            <a:endParaRPr lang="en-US" sz="1200" b="1" i="1" u="sng" dirty="0" smtClean="0"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en-US" sz="1200" b="1" i="1" u="sng" dirty="0" smtClean="0">
                <a:latin typeface="+mj-lt"/>
              </a:rPr>
              <a:t>Approach:</a:t>
            </a:r>
          </a:p>
          <a:p>
            <a:pPr>
              <a:lnSpc>
                <a:spcPct val="100000"/>
              </a:lnSpc>
            </a:pPr>
            <a:endParaRPr lang="en-US" sz="1200" b="1" i="1" u="sng" dirty="0" smtClean="0"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en-US" sz="1200" b="1" i="1" u="sng" dirty="0" smtClean="0">
                <a:latin typeface="+mj-lt"/>
              </a:rPr>
              <a:t>Concept:</a:t>
            </a:r>
          </a:p>
          <a:p>
            <a:pPr>
              <a:lnSpc>
                <a:spcPct val="100000"/>
              </a:lnSpc>
            </a:pPr>
            <a:endParaRPr lang="en-US" sz="1200" b="1" i="1" u="sng" dirty="0" smtClean="0">
              <a:latin typeface="+mj-lt"/>
            </a:endParaRPr>
          </a:p>
          <a:p>
            <a:pPr>
              <a:lnSpc>
                <a:spcPct val="100000"/>
              </a:lnSpc>
            </a:pPr>
            <a:r>
              <a:rPr lang="en-US" sz="1200" b="1" i="1" u="sng" dirty="0" smtClean="0">
                <a:latin typeface="+mj-lt"/>
              </a:rPr>
              <a:t>Goal:</a:t>
            </a:r>
          </a:p>
          <a:p>
            <a:pPr>
              <a:lnSpc>
                <a:spcPct val="100000"/>
              </a:lnSpc>
            </a:pPr>
            <a:endParaRPr lang="en-US" sz="1800" b="1" i="1" u="sng" dirty="0">
              <a:latin typeface="+mj-lt"/>
            </a:endParaRP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174575" y="3411699"/>
            <a:ext cx="6067246" cy="554760"/>
          </a:xfrm>
        </p:spPr>
        <p:txBody>
          <a:bodyPr lIns="0" tIns="0" rIns="91440" bIns="0">
            <a:noAutofit/>
          </a:bodyPr>
          <a:lstStyle>
            <a:lvl1pPr marL="914400" indent="-914400">
              <a:buNone/>
              <a:defRPr sz="1200" b="1" u="none"/>
            </a:lvl1pPr>
          </a:lstStyle>
          <a:p>
            <a:pPr lvl="0"/>
            <a:r>
              <a:rPr lang="en-US" dirty="0" smtClean="0"/>
              <a:t>Approach:	Click to edit Master text styles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2159000" y="3982240"/>
            <a:ext cx="6067246" cy="557636"/>
          </a:xfrm>
        </p:spPr>
        <p:txBody>
          <a:bodyPr lIns="0" tIns="0" rIns="91440" bIns="0">
            <a:noAutofit/>
          </a:bodyPr>
          <a:lstStyle>
            <a:lvl1pPr marL="914400" indent="-914400">
              <a:buNone/>
              <a:defRPr sz="1200" b="1" u="none"/>
            </a:lvl1pPr>
          </a:lstStyle>
          <a:p>
            <a:pPr lvl="0"/>
            <a:r>
              <a:rPr lang="en-US" dirty="0" smtClean="0"/>
              <a:t>Concept:	Click to edit Master text styles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160198" y="4565480"/>
            <a:ext cx="6120202" cy="362120"/>
          </a:xfrm>
        </p:spPr>
        <p:txBody>
          <a:bodyPr lIns="0" tIns="0" rIns="91440" bIns="0">
            <a:noAutofit/>
          </a:bodyPr>
          <a:lstStyle>
            <a:lvl1pPr marL="914400" indent="-914400">
              <a:buNone/>
              <a:defRPr sz="1200" b="1" u="none"/>
            </a:lvl1pPr>
          </a:lstStyle>
          <a:p>
            <a:pPr lvl="0"/>
            <a:r>
              <a:rPr lang="en-US" dirty="0" smtClean="0"/>
              <a:t>Goal:	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76400" y="76200"/>
            <a:ext cx="6553200" cy="914400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4953000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Arial" pitchFamily="34" charset="0"/>
                <a:cs typeface="Arial" pitchFamily="34" charset="0"/>
              </a:defRPr>
            </a:lvl1pPr>
            <a:lvl2pPr marL="742950" indent="-285750"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  <a:lvl3pPr marL="1143000" indent="-228600">
              <a:buFont typeface="Wingdings" pitchFamily="2" charset="2"/>
              <a:buChar char="Ø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buFont typeface="Wingdings" pitchFamily="2" charset="2"/>
              <a:buChar char="v"/>
              <a:defRPr sz="14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358148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7804276" cy="55086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40498"/>
            <a:ext cx="2133600" cy="255058"/>
          </a:xfrm>
          <a:prstGeom prst="rect">
            <a:avLst/>
          </a:prstGeom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540498"/>
            <a:ext cx="2895600" cy="255058"/>
          </a:xfrm>
          <a:prstGeom prst="rect">
            <a:avLst/>
          </a:prstGeom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902F6C-F992-5F48-A278-E5EDF8FF56D7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8914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71600"/>
            <a:ext cx="8305800" cy="2092881"/>
          </a:xfrm>
          <a:prstGeom prst="rect">
            <a:avLst/>
          </a:prstGeom>
        </p:spPr>
        <p:txBody>
          <a:bodyPr/>
          <a:lstStyle>
            <a:lvl1pPr>
              <a:defRPr sz="2200" b="0">
                <a:solidFill>
                  <a:schemeClr val="tx1"/>
                </a:solidFill>
              </a:defRPr>
            </a:lvl1pPr>
            <a:lvl2pPr>
              <a:defRPr sz="2000" b="0">
                <a:solidFill>
                  <a:schemeClr val="tx1"/>
                </a:solidFill>
              </a:defRPr>
            </a:lvl2pPr>
            <a:lvl3pPr>
              <a:defRPr sz="2000" b="0">
                <a:solidFill>
                  <a:schemeClr val="tx1"/>
                </a:solidFill>
              </a:defRPr>
            </a:lvl3pPr>
            <a:lvl4pPr>
              <a:defRPr sz="2000" b="0">
                <a:solidFill>
                  <a:schemeClr val="tx1"/>
                </a:solidFill>
              </a:defRPr>
            </a:lvl4pPr>
            <a:lvl5pPr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2531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 eaLnBrk="0" hangingPunct="0">
              <a:defRPr/>
            </a:lvl1pPr>
          </a:lstStyle>
          <a:p>
            <a:pPr>
              <a:defRPr/>
            </a:pPr>
            <a:fld id="{1F5EE1B8-8653-DB42-951C-7C1C9F78139E}" type="slidenum">
              <a:rPr lang="en-US">
                <a:solidFill>
                  <a:prstClr val="black"/>
                </a:solidFill>
                <a:latin typeface="Calibri"/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6418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6048" y="1566747"/>
            <a:ext cx="403860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66747"/>
            <a:ext cx="403860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fld id="{289CD247-3990-400A-9D11-14197C4789C9}" type="datetimeFigureOut">
              <a:rPr lang="en-US" smtClean="0"/>
              <a:pPr/>
              <a:t>6/21/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30898" y="6345198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1200"/>
            </a:lvl1pPr>
          </a:lstStyle>
          <a:p>
            <a:fld id="{4336D8BB-1FBA-4ECE-B83B-DC345E7EB0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2.xml"/><Relationship Id="rId27" Type="http://schemas.openxmlformats.org/officeDocument/2006/relationships/theme" Target="../theme/theme2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68.xml"/><Relationship Id="rId27" Type="http://schemas.openxmlformats.org/officeDocument/2006/relationships/theme" Target="../theme/theme3.x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7.xml"/><Relationship Id="rId6" Type="http://schemas.openxmlformats.org/officeDocument/2006/relationships/slideLayout" Target="../slideLayouts/slideLayout48.xml"/><Relationship Id="rId7" Type="http://schemas.openxmlformats.org/officeDocument/2006/relationships/slideLayout" Target="../slideLayouts/slideLayout49.xml"/><Relationship Id="rId8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83.xml"/><Relationship Id="rId16" Type="http://schemas.openxmlformats.org/officeDocument/2006/relationships/theme" Target="../theme/theme4.xml"/><Relationship Id="rId17" Type="http://schemas.openxmlformats.org/officeDocument/2006/relationships/image" Target="../media/image4.jpeg"/><Relationship Id="rId1" Type="http://schemas.openxmlformats.org/officeDocument/2006/relationships/slideLayout" Target="../slideLayouts/slideLayout69.xml"/><Relationship Id="rId2" Type="http://schemas.openxmlformats.org/officeDocument/2006/relationships/slideLayout" Target="../slideLayouts/slideLayout70.xml"/><Relationship Id="rId3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5.xml"/><Relationship Id="rId8" Type="http://schemas.openxmlformats.org/officeDocument/2006/relationships/slideLayout" Target="../slideLayouts/slideLayout76.xml"/><Relationship Id="rId9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inal_black_banner_masters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9144000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3181" y="0"/>
            <a:ext cx="6690732" cy="970156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300189" y="6514256"/>
            <a:ext cx="344196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/>
              <a:t>NSP-</a:t>
            </a:r>
            <a:r>
              <a:rPr lang="en-US" sz="1000" i="1" baseline="0" dirty="0" smtClean="0"/>
              <a:t> Low Cost Upper Stage-Class System Development</a:t>
            </a:r>
            <a:endParaRPr lang="en-US" sz="1000" i="1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56" r:id="rId3"/>
    <p:sldLayoutId id="2147483757" r:id="rId4"/>
    <p:sldLayoutId id="2147483758" r:id="rId5"/>
    <p:sldLayoutId id="2147483767" r:id="rId6"/>
    <p:sldLayoutId id="2147483768" r:id="rId7"/>
    <p:sldLayoutId id="2147483769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nner OCT template.jp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39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nner OCT template.jp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0353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nner OCT template.jp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 anchor="ctr"/>
          <a:lstStyle>
            <a:lvl1pPr algn="r">
              <a:defRPr sz="1000" b="0"/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336D8BB-1FBA-4ECE-B83B-DC345E7EB0EF}" type="slidenum">
              <a:rPr lang="en-US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39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</p:sldLayoutIdLst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1" Type="http://schemas.openxmlformats.org/officeDocument/2006/relationships/slideLayout" Target="../slideLayouts/slideLayout70.xml"/><Relationship Id="rId2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Layout" Target="../slideLayouts/slideLayout78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14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7" Type="http://schemas.openxmlformats.org/officeDocument/2006/relationships/image" Target="../media/image39.png"/><Relationship Id="rId8" Type="http://schemas.openxmlformats.org/officeDocument/2006/relationships/image" Target="../media/image40.png"/><Relationship Id="rId9" Type="http://schemas.openxmlformats.org/officeDocument/2006/relationships/image" Target="../media/image41.png"/><Relationship Id="rId10" Type="http://schemas.openxmlformats.org/officeDocument/2006/relationships/image" Target="../media/image42.emf"/><Relationship Id="rId1" Type="http://schemas.openxmlformats.org/officeDocument/2006/relationships/slideLayout" Target="../slideLayouts/slideLayout83.xml"/><Relationship Id="rId2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4" Type="http://schemas.openxmlformats.org/officeDocument/2006/relationships/image" Target="../media/image44.png"/><Relationship Id="rId5" Type="http://schemas.openxmlformats.org/officeDocument/2006/relationships/image" Target="../media/image45.png"/><Relationship Id="rId1" Type="http://schemas.openxmlformats.org/officeDocument/2006/relationships/slideLayout" Target="../slideLayouts/slideLayout81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4" Type="http://schemas.openxmlformats.org/officeDocument/2006/relationships/image" Target="../media/image48.png"/><Relationship Id="rId5" Type="http://schemas.openxmlformats.org/officeDocument/2006/relationships/image" Target="../media/image49.png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8.png"/><Relationship Id="rId12" Type="http://schemas.openxmlformats.org/officeDocument/2006/relationships/image" Target="../media/image59.png"/><Relationship Id="rId13" Type="http://schemas.openxmlformats.org/officeDocument/2006/relationships/image" Target="../media/image60.jpeg"/><Relationship Id="rId14" Type="http://schemas.openxmlformats.org/officeDocument/2006/relationships/image" Target="../media/image61.png"/><Relationship Id="rId15" Type="http://schemas.openxmlformats.org/officeDocument/2006/relationships/image" Target="../media/image62.png"/><Relationship Id="rId16" Type="http://schemas.openxmlformats.org/officeDocument/2006/relationships/image" Target="../media/image63.png"/><Relationship Id="rId17" Type="http://schemas.openxmlformats.org/officeDocument/2006/relationships/image" Target="../media/image64.png"/><Relationship Id="rId1" Type="http://schemas.openxmlformats.org/officeDocument/2006/relationships/slideLayout" Target="../slideLayouts/slideLayout77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50.jpeg"/><Relationship Id="rId4" Type="http://schemas.openxmlformats.org/officeDocument/2006/relationships/image" Target="../media/image51.jpeg"/><Relationship Id="rId5" Type="http://schemas.openxmlformats.org/officeDocument/2006/relationships/image" Target="../media/image52.png"/><Relationship Id="rId6" Type="http://schemas.openxmlformats.org/officeDocument/2006/relationships/image" Target="../media/image53.png"/><Relationship Id="rId7" Type="http://schemas.openxmlformats.org/officeDocument/2006/relationships/image" Target="../media/image54.png"/><Relationship Id="rId8" Type="http://schemas.openxmlformats.org/officeDocument/2006/relationships/image" Target="../media/image55.jpeg"/><Relationship Id="rId9" Type="http://schemas.openxmlformats.org/officeDocument/2006/relationships/image" Target="../media/image56.jpeg"/><Relationship Id="rId10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78.xml"/><Relationship Id="rId5" Type="http://schemas.openxmlformats.org/officeDocument/2006/relationships/notesSlide" Target="../notesSlides/notesSlide8.xml"/><Relationship Id="rId6" Type="http://schemas.openxmlformats.org/officeDocument/2006/relationships/oleObject" Target="../embeddings/oleObject4.bin"/><Relationship Id="rId7" Type="http://schemas.openxmlformats.org/officeDocument/2006/relationships/image" Target="../media/image14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4" Type="http://schemas.openxmlformats.org/officeDocument/2006/relationships/image" Target="../media/image67.png"/><Relationship Id="rId5" Type="http://schemas.openxmlformats.org/officeDocument/2006/relationships/image" Target="../media/image68.png"/><Relationship Id="rId6" Type="http://schemas.openxmlformats.org/officeDocument/2006/relationships/image" Target="../media/image69.png"/><Relationship Id="rId7" Type="http://schemas.openxmlformats.org/officeDocument/2006/relationships/image" Target="../media/image70.png"/><Relationship Id="rId8" Type="http://schemas.openxmlformats.org/officeDocument/2006/relationships/image" Target="../media/image71.png"/><Relationship Id="rId9" Type="http://schemas.openxmlformats.org/officeDocument/2006/relationships/image" Target="../media/image72.png"/><Relationship Id="rId10" Type="http://schemas.openxmlformats.org/officeDocument/2006/relationships/image" Target="../media/image73.png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3.png"/><Relationship Id="rId12" Type="http://schemas.openxmlformats.org/officeDocument/2006/relationships/image" Target="../media/image84.png"/><Relationship Id="rId13" Type="http://schemas.openxmlformats.org/officeDocument/2006/relationships/image" Target="../media/image85.jpeg"/><Relationship Id="rId14" Type="http://schemas.openxmlformats.org/officeDocument/2006/relationships/image" Target="../media/image86.png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74.jpeg"/><Relationship Id="rId3" Type="http://schemas.openxmlformats.org/officeDocument/2006/relationships/image" Target="../media/image75.jpeg"/><Relationship Id="rId4" Type="http://schemas.openxmlformats.org/officeDocument/2006/relationships/image" Target="../media/image76.png"/><Relationship Id="rId5" Type="http://schemas.openxmlformats.org/officeDocument/2006/relationships/image" Target="../media/image77.png"/><Relationship Id="rId6" Type="http://schemas.openxmlformats.org/officeDocument/2006/relationships/image" Target="../media/image78.png"/><Relationship Id="rId7" Type="http://schemas.openxmlformats.org/officeDocument/2006/relationships/image" Target="../media/image79.png"/><Relationship Id="rId8" Type="http://schemas.openxmlformats.org/officeDocument/2006/relationships/image" Target="../media/image80.jpeg"/><Relationship Id="rId9" Type="http://schemas.openxmlformats.org/officeDocument/2006/relationships/image" Target="../media/image81.png"/><Relationship Id="rId10" Type="http://schemas.openxmlformats.org/officeDocument/2006/relationships/image" Target="../media/image8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8.png"/><Relationship Id="rId5" Type="http://schemas.openxmlformats.org/officeDocument/2006/relationships/image" Target="../media/image89.jpeg"/><Relationship Id="rId1" Type="http://schemas.openxmlformats.org/officeDocument/2006/relationships/slideLayout" Target="../slideLayouts/slideLayout70.xml"/><Relationship Id="rId2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ano.gov/goaloneobjectives" TargetMode="External"/><Relationship Id="rId4" Type="http://schemas.openxmlformats.org/officeDocument/2006/relationships/hyperlink" Target="http://www.nano.gov/goaltwoobjectives" TargetMode="External"/><Relationship Id="rId5" Type="http://schemas.openxmlformats.org/officeDocument/2006/relationships/hyperlink" Target="http://www.nano.gov/goalthreeobjectives" TargetMode="External"/><Relationship Id="rId6" Type="http://schemas.openxmlformats.org/officeDocument/2006/relationships/hyperlink" Target="http://www.nano.gov/goalfourobjectives" TargetMode="External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4" Type="http://schemas.openxmlformats.org/officeDocument/2006/relationships/image" Target="../media/image93.png"/><Relationship Id="rId5" Type="http://schemas.openxmlformats.org/officeDocument/2006/relationships/image" Target="../media/image94.png"/><Relationship Id="rId6" Type="http://schemas.openxmlformats.org/officeDocument/2006/relationships/image" Target="../media/image95.png"/><Relationship Id="rId1" Type="http://schemas.openxmlformats.org/officeDocument/2006/relationships/slideLayout" Target="../slideLayouts/slideLayout77.xml"/><Relationship Id="rId2" Type="http://schemas.openxmlformats.org/officeDocument/2006/relationships/image" Target="../media/image9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43.xml"/><Relationship Id="rId2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emf"/><Relationship Id="rId5" Type="http://schemas.openxmlformats.org/officeDocument/2006/relationships/image" Target="../media/image12.jpeg"/><Relationship Id="rId1" Type="http://schemas.openxmlformats.org/officeDocument/2006/relationships/slideLayout" Target="../slideLayouts/slideLayout44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Relationship Id="rId2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1.xml"/><Relationship Id="rId12" Type="http://schemas.microsoft.com/office/2007/relationships/diagramDrawing" Target="../diagrams/drawing1.xml"/><Relationship Id="rId13" Type="http://schemas.openxmlformats.org/officeDocument/2006/relationships/image" Target="../media/image16.png"/><Relationship Id="rId14" Type="http://schemas.openxmlformats.org/officeDocument/2006/relationships/image" Target="../media/image17.jpe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slideLayout" Target="../slideLayouts/slideLayout78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4.emf"/><Relationship Id="rId8" Type="http://schemas.openxmlformats.org/officeDocument/2006/relationships/diagramData" Target="../diagrams/data1.xml"/><Relationship Id="rId9" Type="http://schemas.openxmlformats.org/officeDocument/2006/relationships/diagramLayout" Target="../diagrams/layout1.xml"/><Relationship Id="rId10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Layout" Target="../slideLayouts/slideLayout52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14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jpeg"/><Relationship Id="rId5" Type="http://schemas.openxmlformats.org/officeDocument/2006/relationships/image" Target="../media/image21.jpeg"/><Relationship Id="rId6" Type="http://schemas.openxmlformats.org/officeDocument/2006/relationships/image" Target="../media/image22.png"/><Relationship Id="rId7" Type="http://schemas.openxmlformats.org/officeDocument/2006/relationships/image" Target="../media/image23.emf"/><Relationship Id="rId8" Type="http://schemas.openxmlformats.org/officeDocument/2006/relationships/image" Target="../media/image24.png"/><Relationship Id="rId9" Type="http://schemas.openxmlformats.org/officeDocument/2006/relationships/image" Target="../media/image25.png"/><Relationship Id="rId10" Type="http://schemas.openxmlformats.org/officeDocument/2006/relationships/image" Target="../media/image26.png"/><Relationship Id="rId11" Type="http://schemas.openxmlformats.org/officeDocument/2006/relationships/image" Target="../media/image27.jpeg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7840" y="194047"/>
            <a:ext cx="6553200" cy="914400"/>
          </a:xfrm>
        </p:spPr>
        <p:txBody>
          <a:bodyPr/>
          <a:lstStyle/>
          <a:p>
            <a:r>
              <a:rPr lang="en-US" b="1" i="1" dirty="0"/>
              <a:t>Advanced Aerospace Materials: </a:t>
            </a:r>
            <a:br>
              <a:rPr lang="en-US" b="1" i="1" dirty="0"/>
            </a:br>
            <a:r>
              <a:rPr lang="en-US" b="1" i="1" dirty="0"/>
              <a:t>“Beyond The Next” Workshop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7893" y="2754432"/>
            <a:ext cx="8610600" cy="1234978"/>
          </a:xfrm>
        </p:spPr>
        <p:txBody>
          <a:bodyPr/>
          <a:lstStyle/>
          <a:p>
            <a:pPr lvl="0"/>
            <a:r>
              <a:rPr lang="en-US" i="1" dirty="0" smtClean="0">
                <a:solidFill>
                  <a:srgbClr val="CC0000"/>
                </a:solidFill>
              </a:rPr>
              <a:t>What new materials with high performance structural properties are on the horizon beyond current development efforts?  </a:t>
            </a:r>
          </a:p>
          <a:p>
            <a:pPr marL="0" indent="0">
              <a:buNone/>
            </a:pPr>
            <a:endParaRPr lang="en-US" i="1" dirty="0">
              <a:solidFill>
                <a:srgbClr val="CC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653" y="1387969"/>
            <a:ext cx="905234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/>
              <a:t>Location</a:t>
            </a:r>
            <a:r>
              <a:rPr lang="en-US" u="sng" dirty="0"/>
              <a:t>:</a:t>
            </a:r>
            <a:r>
              <a:rPr lang="en-US" dirty="0"/>
              <a:t>  National Institute of Aerospace</a:t>
            </a:r>
          </a:p>
          <a:p>
            <a:pPr algn="ctr"/>
            <a:r>
              <a:rPr lang="en-US" u="sng" dirty="0" smtClean="0"/>
              <a:t>Sponsor</a:t>
            </a:r>
            <a:r>
              <a:rPr lang="en-US" u="sng" dirty="0"/>
              <a:t>:</a:t>
            </a:r>
            <a:r>
              <a:rPr lang="en-US" dirty="0"/>
              <a:t>  Chiefs Office, NASA Langley Research Center</a:t>
            </a:r>
          </a:p>
          <a:p>
            <a:pPr algn="ctr"/>
            <a:r>
              <a:rPr lang="en-US" u="sng" dirty="0"/>
              <a:t>Host:</a:t>
            </a:r>
            <a:r>
              <a:rPr lang="en-US" dirty="0"/>
              <a:t>  W. Keith Belvin, Principal Technologist, NASA STMD</a:t>
            </a:r>
          </a:p>
          <a:p>
            <a:pPr algn="ctr"/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03515" y="4016530"/>
            <a:ext cx="8610600" cy="1319788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>
                <a:solidFill>
                  <a:srgbClr val="CC0000"/>
                </a:solidFill>
              </a:rPr>
              <a:t>What new combinatorial processing methods can be used to create new materials?  </a:t>
            </a:r>
          </a:p>
          <a:p>
            <a:endParaRPr lang="en-US" i="1" dirty="0">
              <a:solidFill>
                <a:srgbClr val="CC0000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17893" y="4935137"/>
            <a:ext cx="8610600" cy="343154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smtClean="0">
                <a:solidFill>
                  <a:srgbClr val="CC0000"/>
                </a:solidFill>
              </a:rPr>
              <a:t>How can computational methods be used to accelerate the design, synthesis, processing, characterization, fabrication and testing of new materials?</a:t>
            </a:r>
          </a:p>
          <a:p>
            <a:endParaRPr lang="en-US" i="1" dirty="0">
              <a:solidFill>
                <a:srgbClr val="CC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4117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117600"/>
            <a:ext cx="9144000" cy="5740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9682" name="Title 10"/>
          <p:cNvSpPr>
            <a:spLocks noGrp="1"/>
          </p:cNvSpPr>
          <p:nvPr>
            <p:ph type="title"/>
          </p:nvPr>
        </p:nvSpPr>
        <p:spPr>
          <a:xfrm>
            <a:off x="0" y="0"/>
            <a:ext cx="8077200" cy="742950"/>
          </a:xfrm>
        </p:spPr>
        <p:txBody>
          <a:bodyPr/>
          <a:lstStyle/>
          <a:p>
            <a:r>
              <a:rPr lang="en-US" dirty="0">
                <a:latin typeface="Arial" charset="0"/>
                <a:ea typeface="ヒラギノ角ゴ Pro W3" charset="0"/>
              </a:rPr>
              <a:t>EMC Small Habitat Commonality</a:t>
            </a:r>
          </a:p>
        </p:txBody>
      </p:sp>
      <p:pic>
        <p:nvPicPr>
          <p:cNvPr id="19968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3788" y="4454525"/>
            <a:ext cx="5510212" cy="226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4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88" y="2493963"/>
            <a:ext cx="1973262" cy="188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5" name="Picture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09588" y="4383088"/>
            <a:ext cx="2746375" cy="223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6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304800"/>
            <a:ext cx="4208463" cy="301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7" name="Picture 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672531" flipH="1">
            <a:off x="495300" y="866775"/>
            <a:ext cx="2774950" cy="185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661150" y="3259138"/>
            <a:ext cx="143510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9689" name="TextBox 8"/>
          <p:cNvSpPr txBox="1">
            <a:spLocks noChangeArrowheads="1"/>
          </p:cNvSpPr>
          <p:nvPr/>
        </p:nvSpPr>
        <p:spPr bwMode="auto">
          <a:xfrm>
            <a:off x="2300288" y="1039813"/>
            <a:ext cx="14335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Mars System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Taxi</a:t>
            </a:r>
          </a:p>
        </p:txBody>
      </p:sp>
      <p:sp>
        <p:nvSpPr>
          <p:cNvPr id="199690" name="TextBox 16"/>
          <p:cNvSpPr txBox="1">
            <a:spLocks noChangeArrowheads="1"/>
          </p:cNvSpPr>
          <p:nvPr/>
        </p:nvSpPr>
        <p:spPr bwMode="auto">
          <a:xfrm>
            <a:off x="2374900" y="3306763"/>
            <a:ext cx="1468438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Mars Surface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Rover</a:t>
            </a:r>
          </a:p>
        </p:txBody>
      </p:sp>
      <p:sp>
        <p:nvSpPr>
          <p:cNvPr id="199691" name="TextBox 18"/>
          <p:cNvSpPr txBox="1">
            <a:spLocks noChangeArrowheads="1"/>
          </p:cNvSpPr>
          <p:nvPr/>
        </p:nvSpPr>
        <p:spPr bwMode="auto">
          <a:xfrm>
            <a:off x="2735263" y="4233863"/>
            <a:ext cx="12477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Mars Crew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Lander</a:t>
            </a:r>
          </a:p>
        </p:txBody>
      </p:sp>
      <p:sp>
        <p:nvSpPr>
          <p:cNvPr id="199692" name="TextBox 19"/>
          <p:cNvSpPr txBox="1">
            <a:spLocks noChangeArrowheads="1"/>
          </p:cNvSpPr>
          <p:nvPr/>
        </p:nvSpPr>
        <p:spPr bwMode="auto">
          <a:xfrm>
            <a:off x="4371975" y="4722813"/>
            <a:ext cx="14859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 dirty="0">
                <a:solidFill>
                  <a:srgbClr val="FFFFFF"/>
                </a:solidFill>
              </a:rPr>
              <a:t>Mars Ascent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 dirty="0">
                <a:solidFill>
                  <a:srgbClr val="FFFFFF"/>
                </a:solidFill>
              </a:rPr>
              <a:t>Vehicle (MAV)</a:t>
            </a:r>
          </a:p>
        </p:txBody>
      </p:sp>
      <p:sp>
        <p:nvSpPr>
          <p:cNvPr id="199693" name="TextBox 20"/>
          <p:cNvSpPr txBox="1">
            <a:spLocks noChangeArrowheads="1"/>
          </p:cNvSpPr>
          <p:nvPr/>
        </p:nvSpPr>
        <p:spPr bwMode="auto">
          <a:xfrm>
            <a:off x="4762500" y="3352800"/>
            <a:ext cx="19859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Phobos Exploration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Vehicle (PEV)</a:t>
            </a:r>
          </a:p>
        </p:txBody>
      </p:sp>
      <p:sp>
        <p:nvSpPr>
          <p:cNvPr id="199694" name="TextBox 21"/>
          <p:cNvSpPr txBox="1">
            <a:spLocks noChangeArrowheads="1"/>
          </p:cNvSpPr>
          <p:nvPr/>
        </p:nvSpPr>
        <p:spPr bwMode="auto">
          <a:xfrm>
            <a:off x="5756275" y="2354263"/>
            <a:ext cx="16446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Initial Cis-lunar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i="1">
                <a:solidFill>
                  <a:srgbClr val="FFFFFF"/>
                </a:solidFill>
              </a:rPr>
              <a:t>Habitat</a:t>
            </a:r>
          </a:p>
        </p:txBody>
      </p:sp>
      <p:sp>
        <p:nvSpPr>
          <p:cNvPr id="10" name="Oval 9"/>
          <p:cNvSpPr/>
          <p:nvPr/>
        </p:nvSpPr>
        <p:spPr>
          <a:xfrm rot="2311250">
            <a:off x="6542088" y="1312863"/>
            <a:ext cx="739775" cy="992187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Oval 22"/>
          <p:cNvSpPr/>
          <p:nvPr/>
        </p:nvSpPr>
        <p:spPr>
          <a:xfrm rot="5400000">
            <a:off x="7243763" y="3297238"/>
            <a:ext cx="738187" cy="992187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val 23"/>
          <p:cNvSpPr/>
          <p:nvPr/>
        </p:nvSpPr>
        <p:spPr>
          <a:xfrm rot="5400000">
            <a:off x="1015206" y="2869407"/>
            <a:ext cx="739775" cy="992188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Oval 24"/>
          <p:cNvSpPr/>
          <p:nvPr/>
        </p:nvSpPr>
        <p:spPr>
          <a:xfrm rot="10800000">
            <a:off x="6392863" y="4521200"/>
            <a:ext cx="738187" cy="992188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val 25"/>
          <p:cNvSpPr/>
          <p:nvPr/>
        </p:nvSpPr>
        <p:spPr>
          <a:xfrm rot="10800000">
            <a:off x="2105025" y="4519613"/>
            <a:ext cx="739775" cy="992187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Oval 26"/>
          <p:cNvSpPr/>
          <p:nvPr/>
        </p:nvSpPr>
        <p:spPr>
          <a:xfrm rot="5400000">
            <a:off x="2381250" y="1608138"/>
            <a:ext cx="738187" cy="992188"/>
          </a:xfrm>
          <a:prstGeom prst="ellipse">
            <a:avLst/>
          </a:prstGeom>
          <a:solidFill>
            <a:srgbClr val="92D050">
              <a:alpha val="30980"/>
            </a:srgbClr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28063" y="6356350"/>
            <a:ext cx="41275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fld id="{BCD60575-BB91-4743-974F-A194BDBA0638}" type="slidenum">
              <a:rPr lang="en-US" smtClean="0">
                <a:solidFill>
                  <a:srgbClr val="FFFFFF"/>
                </a:solidFill>
                <a:latin typeface="Calibri"/>
              </a:rPr>
              <a:pPr defTabSz="457200">
                <a:defRPr/>
              </a:pPr>
              <a:t>10</a:t>
            </a:fld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2400" y="6581001"/>
            <a:ext cx="54698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Chris Moore – EMC presentation to the NAC Research Subcommittee, March 7, 2016</a:t>
            </a:r>
            <a:endParaRPr lang="en-US" sz="1200" dirty="0"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853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7" y="168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7" y="168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26647"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1752600" y="228600"/>
            <a:ext cx="6532210" cy="693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2400" b="1" dirty="0"/>
              <a:t>LMSAM</a:t>
            </a:r>
            <a:r>
              <a:rPr lang="en-US" sz="2400" b="1" dirty="0" smtClean="0">
                <a:solidFill>
                  <a:prstClr val="white"/>
                </a:solidFill>
                <a:latin typeface="Calibri"/>
              </a:rPr>
              <a:t> Capability Areas</a:t>
            </a: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57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5800" y="1905000"/>
            <a:ext cx="1447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Human Rated Composit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5908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24400" y="1752600"/>
            <a:ext cx="1752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functional Material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648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38400" y="1752600"/>
            <a:ext cx="2286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(</a:t>
            </a:r>
            <a:r>
              <a:rPr lang="en-US" sz="1800" b="1" i="1" dirty="0" err="1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SM</a:t>
            </a: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) and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Assembly (</a:t>
            </a:r>
            <a:r>
              <a:rPr lang="en-US" sz="1800" b="1" i="1" dirty="0" err="1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SA</a:t>
            </a: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)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(*</a:t>
            </a:r>
            <a:r>
              <a:rPr lang="en-US" sz="1800" b="1" i="1" dirty="0" err="1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SS</a:t>
            </a: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)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7056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781800" y="1828800"/>
            <a:ext cx="1752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ructures and Materials for Extreme </a:t>
            </a: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nvironment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72000" y="1752600"/>
            <a:ext cx="2286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functional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terials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nd Structur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Oval 3"/>
          <p:cNvSpPr/>
          <p:nvPr/>
        </p:nvSpPr>
        <p:spPr>
          <a:xfrm>
            <a:off x="2468033" y="1570567"/>
            <a:ext cx="2243667" cy="1955800"/>
          </a:xfrm>
          <a:prstGeom prst="ellipse">
            <a:avLst/>
          </a:prstGeom>
          <a:noFill/>
          <a:ln w="57150" cmpd="sng">
            <a:solidFill>
              <a:srgbClr val="CC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200" y="3733800"/>
            <a:ext cx="1905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abitat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ryogenic Tank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Launch Vehicle Dry Structure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Space and Surface Vehicles </a:t>
            </a:r>
            <a:endParaRPr lang="en-US" sz="1400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2463800" y="3733800"/>
            <a:ext cx="22352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600" b="1" i="1" dirty="0" err="1">
                <a:solidFill>
                  <a:srgbClr val="008000"/>
                </a:solidFill>
              </a:rPr>
              <a:t>i</a:t>
            </a:r>
            <a:r>
              <a:rPr lang="en-US" sz="1600" b="1" i="1" dirty="0" err="1" smtClean="0">
                <a:solidFill>
                  <a:srgbClr val="008000"/>
                </a:solidFill>
              </a:rPr>
              <a:t>SA</a:t>
            </a:r>
            <a:r>
              <a:rPr lang="en-US" sz="1600" i="1" dirty="0" smtClean="0">
                <a:solidFill>
                  <a:srgbClr val="008000"/>
                </a:solidFill>
              </a:rPr>
              <a:t> 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600" b="1" i="1" dirty="0" err="1">
                <a:solidFill>
                  <a:srgbClr val="008000"/>
                </a:solidFill>
              </a:rPr>
              <a:t>i</a:t>
            </a:r>
            <a:r>
              <a:rPr lang="en-US" sz="1600" b="1" i="1" dirty="0" err="1" smtClean="0">
                <a:solidFill>
                  <a:srgbClr val="008000"/>
                </a:solidFill>
              </a:rPr>
              <a:t>SM</a:t>
            </a:r>
            <a:r>
              <a:rPr lang="en-US" sz="1600" b="1" i="1" dirty="0" smtClean="0">
                <a:solidFill>
                  <a:srgbClr val="008000"/>
                </a:solidFill>
              </a:rPr>
              <a:t> </a:t>
            </a:r>
            <a:r>
              <a:rPr lang="en-US" sz="1600" i="1" dirty="0" smtClean="0">
                <a:solidFill>
                  <a:srgbClr val="008000"/>
                </a:solidFill>
              </a:rPr>
              <a:t>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600" i="1" dirty="0" smtClean="0">
                <a:solidFill>
                  <a:srgbClr val="008000"/>
                </a:solidFill>
              </a:rPr>
              <a:t>Advanced </a:t>
            </a:r>
            <a:r>
              <a:rPr lang="en-US" sz="1600" i="1" dirty="0">
                <a:solidFill>
                  <a:srgbClr val="008000"/>
                </a:solidFill>
              </a:rPr>
              <a:t> </a:t>
            </a:r>
            <a:r>
              <a:rPr lang="en-US" sz="1600" i="1" dirty="0" smtClean="0">
                <a:solidFill>
                  <a:srgbClr val="008000"/>
                </a:solidFill>
              </a:rPr>
              <a:t>System Concepts</a:t>
            </a:r>
          </a:p>
          <a:p>
            <a:pPr marL="342900" indent="-342900">
              <a:buFont typeface="Arial"/>
              <a:buChar char="•"/>
            </a:pPr>
            <a:r>
              <a:rPr lang="en-US" sz="1600" b="1" i="1" dirty="0" err="1">
                <a:solidFill>
                  <a:srgbClr val="008000"/>
                </a:solidFill>
              </a:rPr>
              <a:t>i</a:t>
            </a:r>
            <a:r>
              <a:rPr lang="en-US" sz="1600" b="1" i="1" dirty="0" err="1" smtClean="0">
                <a:solidFill>
                  <a:srgbClr val="008000"/>
                </a:solidFill>
              </a:rPr>
              <a:t>SA</a:t>
            </a:r>
            <a:r>
              <a:rPr lang="en-US" sz="1600" b="1" i="1" dirty="0" smtClean="0">
                <a:solidFill>
                  <a:srgbClr val="008000"/>
                </a:solidFill>
              </a:rPr>
              <a:t> </a:t>
            </a:r>
            <a:r>
              <a:rPr lang="en-US" sz="1600" i="1" dirty="0" smtClean="0">
                <a:solidFill>
                  <a:srgbClr val="008000"/>
                </a:solidFill>
              </a:rPr>
              <a:t>and</a:t>
            </a:r>
            <a:r>
              <a:rPr lang="en-US" sz="1600" b="1" i="1" dirty="0" smtClean="0">
                <a:solidFill>
                  <a:srgbClr val="008000"/>
                </a:solidFill>
              </a:rPr>
              <a:t> </a:t>
            </a:r>
            <a:r>
              <a:rPr lang="en-US" sz="1600" b="1" i="1" dirty="0" err="1" smtClean="0">
                <a:solidFill>
                  <a:srgbClr val="008000"/>
                </a:solidFill>
              </a:rPr>
              <a:t>iSM</a:t>
            </a:r>
            <a:r>
              <a:rPr lang="en-US" sz="1600" b="1" i="1" dirty="0" smtClean="0">
                <a:solidFill>
                  <a:srgbClr val="008000"/>
                </a:solidFill>
              </a:rPr>
              <a:t> </a:t>
            </a:r>
            <a:r>
              <a:rPr lang="en-US" sz="1600" i="1" dirty="0" smtClean="0">
                <a:solidFill>
                  <a:srgbClr val="008000"/>
                </a:solidFill>
              </a:rPr>
              <a:t>Operations/Agents </a:t>
            </a:r>
            <a:endParaRPr lang="en-US" sz="1600" i="1" dirty="0">
              <a:solidFill>
                <a:srgbClr val="008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648200" y="3733800"/>
            <a:ext cx="1905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err="1" smtClean="0"/>
              <a:t>Deployables</a:t>
            </a:r>
            <a:r>
              <a:rPr lang="en-US" sz="1400" i="1" dirty="0" smtClean="0"/>
              <a:t>, </a:t>
            </a:r>
            <a:r>
              <a:rPr lang="en-US" sz="1400" i="1" dirty="0" err="1" smtClean="0"/>
              <a:t>Softgoods</a:t>
            </a:r>
            <a:r>
              <a:rPr lang="en-US" sz="1400" i="1" dirty="0" smtClean="0"/>
              <a:t>, Modularity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nufacturing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terial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Multifunctional Integration</a:t>
            </a:r>
            <a:endParaRPr lang="en-US" sz="1400" i="1" dirty="0"/>
          </a:p>
        </p:txBody>
      </p:sp>
      <p:sp>
        <p:nvSpPr>
          <p:cNvPr id="21" name="TextBox 20"/>
          <p:cNvSpPr txBox="1"/>
          <p:nvPr/>
        </p:nvSpPr>
        <p:spPr>
          <a:xfrm>
            <a:off x="6781800" y="3733800"/>
            <a:ext cx="19050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ot Structures and TP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old Mechanism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Dust/Radiation/Space Environmental Effects (SEE)</a:t>
            </a:r>
            <a:endParaRPr lang="en-US" sz="1400" i="1" dirty="0"/>
          </a:p>
        </p:txBody>
      </p:sp>
      <p:sp>
        <p:nvSpPr>
          <p:cNvPr id="2" name="TextBox 1"/>
          <p:cNvSpPr txBox="1"/>
          <p:nvPr/>
        </p:nvSpPr>
        <p:spPr>
          <a:xfrm>
            <a:off x="2489200" y="6324600"/>
            <a:ext cx="40280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* in-Space Servicing (</a:t>
            </a:r>
            <a:r>
              <a:rPr lang="en-US" sz="1600" dirty="0" err="1" smtClean="0"/>
              <a:t>iSS</a:t>
            </a:r>
            <a:r>
              <a:rPr lang="en-US" sz="1600" dirty="0" smtClean="0"/>
              <a:t>) technology als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9778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415338" y="6553986"/>
            <a:ext cx="652462" cy="228600"/>
          </a:xfrm>
        </p:spPr>
        <p:txBody>
          <a:bodyPr/>
          <a:lstStyle/>
          <a:p>
            <a:pPr>
              <a:defRPr/>
            </a:pPr>
            <a:endParaRPr lang="en-US" sz="1400" dirty="0">
              <a:latin typeface="Times" charset="0"/>
            </a:endParaRPr>
          </a:p>
          <a:p>
            <a:pPr>
              <a:defRPr/>
            </a:pPr>
            <a:fld id="{3377A6CA-1780-FB4F-8C77-6617F76F8D0F}" type="slidenum">
              <a:rPr lang="en-US">
                <a:latin typeface="Helvetica" charset="0"/>
              </a:rPr>
              <a:pPr>
                <a:defRPr/>
              </a:pPr>
              <a:t>12</a:t>
            </a:fld>
            <a:endParaRPr lang="en-US" sz="1400" dirty="0">
              <a:latin typeface="Times" charset="0"/>
            </a:endParaRPr>
          </a:p>
        </p:txBody>
      </p:sp>
      <p:sp>
        <p:nvSpPr>
          <p:cNvPr id="8194" name="Text Box 2"/>
          <p:cNvSpPr txBox="1">
            <a:spLocks noChangeArrowheads="1"/>
          </p:cNvSpPr>
          <p:nvPr/>
        </p:nvSpPr>
        <p:spPr bwMode="auto">
          <a:xfrm>
            <a:off x="1544010" y="275654"/>
            <a:ext cx="671079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 smtClean="0">
                <a:solidFill>
                  <a:srgbClr val="FFFFFF"/>
                </a:solidFill>
                <a:latin typeface="Calibri"/>
              </a:rPr>
              <a:t>Background: History of Space Assembly Operations</a:t>
            </a:r>
            <a:endParaRPr lang="en-US" b="1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4357" y="1219200"/>
            <a:ext cx="2411553" cy="35259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295423" y="5982124"/>
            <a:ext cx="251977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TS-61 Hubble (1993 NASA)</a:t>
            </a:r>
          </a:p>
          <a:p>
            <a:r>
              <a:rPr lang="en-US" sz="1100" dirty="0" smtClean="0"/>
              <a:t>(1993, 1997, 1999, 2002, 2009)</a:t>
            </a:r>
            <a:endParaRPr lang="en-US" sz="1100" dirty="0"/>
          </a:p>
        </p:txBody>
      </p:sp>
      <p:grpSp>
        <p:nvGrpSpPr>
          <p:cNvPr id="7" name="Group 6"/>
          <p:cNvGrpSpPr/>
          <p:nvPr/>
        </p:nvGrpSpPr>
        <p:grpSpPr>
          <a:xfrm>
            <a:off x="6451951" y="1206500"/>
            <a:ext cx="2274970" cy="2308892"/>
            <a:chOff x="6283381" y="900498"/>
            <a:chExt cx="2222676" cy="253207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83381" y="1806191"/>
              <a:ext cx="2222676" cy="162637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04495" y="900498"/>
              <a:ext cx="901562" cy="95757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3381" y="900499"/>
              <a:ext cx="1353472" cy="9575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3" name="TextBox 12"/>
          <p:cNvSpPr txBox="1"/>
          <p:nvPr/>
        </p:nvSpPr>
        <p:spPr>
          <a:xfrm>
            <a:off x="3242359" y="4727147"/>
            <a:ext cx="25267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ISS (1998-2011 International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84855" y="6488978"/>
            <a:ext cx="33377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EASE/ACCESS STS-61B (1985 NASA)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1951" y="4258534"/>
            <a:ext cx="2278569" cy="2230444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7150" dist="50800" dir="2700000" sx="102000" sy="102000" algn="tl" rotWithShape="0">
              <a:schemeClr val="accent2">
                <a:lumMod val="75000"/>
                <a:alpha val="76000"/>
              </a:schemeClr>
            </a:outerShdw>
          </a:effectLst>
        </p:spPr>
      </p:pic>
      <p:grpSp>
        <p:nvGrpSpPr>
          <p:cNvPr id="16" name="Group 15"/>
          <p:cNvGrpSpPr/>
          <p:nvPr/>
        </p:nvGrpSpPr>
        <p:grpSpPr>
          <a:xfrm>
            <a:off x="394816" y="1192020"/>
            <a:ext cx="2234698" cy="4811062"/>
            <a:chOff x="187756" y="870382"/>
            <a:chExt cx="2234698" cy="4811062"/>
          </a:xfrm>
        </p:grpSpPr>
        <p:grpSp>
          <p:nvGrpSpPr>
            <p:cNvPr id="17" name="Group 16"/>
            <p:cNvGrpSpPr/>
            <p:nvPr/>
          </p:nvGrpSpPr>
          <p:grpSpPr>
            <a:xfrm>
              <a:off x="187756" y="870382"/>
              <a:ext cx="2234698" cy="4811062"/>
              <a:chOff x="131586" y="496162"/>
              <a:chExt cx="2453614" cy="5304014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586" y="4558769"/>
                <a:ext cx="2453614" cy="1241407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825" y="2119203"/>
                <a:ext cx="2447214" cy="2439566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31824" y="496162"/>
                <a:ext cx="2430641" cy="16230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18" name="Rectangle 17"/>
            <p:cNvSpPr/>
            <p:nvPr/>
          </p:nvSpPr>
          <p:spPr>
            <a:xfrm>
              <a:off x="1270048" y="4555413"/>
              <a:ext cx="103536" cy="112603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851132" y="5065700"/>
            <a:ext cx="3625099" cy="1423277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367212" y="3488120"/>
            <a:ext cx="26358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Orbital Express (2007 DARPA)</a:t>
            </a:r>
          </a:p>
          <a:p>
            <a:pPr marL="117475" indent="-117475">
              <a:buFont typeface="Arial"/>
              <a:buChar char="•"/>
            </a:pPr>
            <a:r>
              <a:rPr lang="en-US" sz="1100" dirty="0" smtClean="0"/>
              <a:t>Orbital Replacement Units</a:t>
            </a:r>
          </a:p>
          <a:p>
            <a:pPr marL="117475" indent="-117475">
              <a:buFont typeface="Arial"/>
              <a:buChar char="•"/>
            </a:pPr>
            <a:r>
              <a:rPr lang="en-US" sz="1100" dirty="0" smtClean="0"/>
              <a:t>Fuel Transfer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02584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2133600" y="304800"/>
            <a:ext cx="54748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 err="1">
                <a:solidFill>
                  <a:srgbClr val="FFFFFF"/>
                </a:solidFill>
                <a:latin typeface="Arial"/>
                <a:ea typeface="+mn-ea"/>
                <a:cs typeface="Arial"/>
              </a:rPr>
              <a:t>i</a:t>
            </a:r>
            <a:r>
              <a:rPr lang="en-US" b="1" dirty="0" err="1" smtClean="0">
                <a:solidFill>
                  <a:srgbClr val="FFFFFF"/>
                </a:solidFill>
                <a:latin typeface="Arial"/>
                <a:ea typeface="+mn-ea"/>
                <a:cs typeface="Arial"/>
              </a:rPr>
              <a:t>SA</a:t>
            </a:r>
            <a:r>
              <a:rPr lang="en-US" b="1" dirty="0" smtClean="0">
                <a:solidFill>
                  <a:srgbClr val="FFFFFF"/>
                </a:solidFill>
                <a:latin typeface="Arial"/>
                <a:ea typeface="+mn-ea"/>
                <a:cs typeface="Arial"/>
              </a:rPr>
              <a:t> &amp; </a:t>
            </a:r>
            <a:r>
              <a:rPr lang="en-US" b="1" dirty="0" err="1" smtClean="0">
                <a:solidFill>
                  <a:srgbClr val="FFFFFF"/>
                </a:solidFill>
                <a:latin typeface="Arial"/>
                <a:ea typeface="+mn-ea"/>
                <a:cs typeface="Arial"/>
              </a:rPr>
              <a:t>iSM</a:t>
            </a:r>
            <a:r>
              <a:rPr lang="en-US" b="1" dirty="0" smtClean="0">
                <a:solidFill>
                  <a:srgbClr val="FFFFFF"/>
                </a:solidFill>
                <a:latin typeface="Arial"/>
                <a:ea typeface="+mn-ea"/>
                <a:cs typeface="Arial"/>
              </a:rPr>
              <a:t>:  Exploration and Scienc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063" y="4144572"/>
            <a:ext cx="28718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xploration Augmentation Module (EAM)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odule Based Design for Docking/Berthing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odular Subsystems for repair/assembly 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Long reach arms for berthing/disassembly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644" y="1475927"/>
            <a:ext cx="2583574" cy="257493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7187" y="1475927"/>
            <a:ext cx="2731150" cy="21705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6203514" y="3723194"/>
            <a:ext cx="3009506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High Definition Space Telescope (HDST)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12-20 meter Primary Mirror 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High Dimensional Stability (10s of </a:t>
            </a:r>
            <a:r>
              <a:rPr lang="en-US" sz="1050" dirty="0" err="1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icometers</a:t>
            </a: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)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eploy/Assemble</a:t>
            </a:r>
          </a:p>
          <a:p>
            <a:pPr marL="573088" lvl="1" indent="-11588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rmal Sunshield</a:t>
            </a:r>
          </a:p>
          <a:p>
            <a:pPr marL="573088" lvl="1" indent="-11588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rimary Mirror</a:t>
            </a:r>
          </a:p>
          <a:p>
            <a:pPr marL="573088" lvl="1" indent="-11588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econdary Mirror and Subsystems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15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6097" y="3086010"/>
            <a:ext cx="3223323" cy="27084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2846860" y="5865581"/>
            <a:ext cx="3352200" cy="10849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urface ISRU – Manufacturing and Assembly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esign with low strength materials (polymers/ceramics)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dditive manufacturing of finite sized modules</a:t>
            </a:r>
          </a:p>
          <a:p>
            <a:pPr marL="117475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ssembly of processed parts into systems</a:t>
            </a:r>
          </a:p>
          <a:p>
            <a:pPr marL="117475" lvl="1" indent="-117475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versible joining technology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5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70697" y="755584"/>
            <a:ext cx="3223323" cy="83099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u="sng" dirty="0" smtClean="0">
                <a:solidFill>
                  <a:srgbClr val="800000"/>
                </a:solidFill>
                <a:latin typeface="Calibri"/>
                <a:ea typeface="+mn-ea"/>
                <a:cs typeface="+mn-cs"/>
              </a:rPr>
              <a:t>In-Space Assembly and Manufacturing Provides for Affordability and Resilience</a:t>
            </a:r>
            <a:r>
              <a:rPr lang="en-US" sz="1600" b="1" dirty="0" smtClean="0">
                <a:solidFill>
                  <a:srgbClr val="800000"/>
                </a:solidFill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95600" y="1739900"/>
            <a:ext cx="3223323" cy="1384995"/>
          </a:xfrm>
          <a:prstGeom prst="rect">
            <a:avLst/>
          </a:prstGeom>
          <a:solidFill>
            <a:schemeClr val="bg1">
              <a:lumMod val="85000"/>
              <a:alpha val="34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173038" indent="-17303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ssembly provides aggregation </a:t>
            </a:r>
            <a:r>
              <a:rPr lang="en-US" sz="1400" b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</a:t>
            </a: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f systems from multiple launches</a:t>
            </a:r>
          </a:p>
          <a:p>
            <a:pPr marL="173038" indent="-17303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ervicing and repair extend lifetime</a:t>
            </a:r>
          </a:p>
          <a:p>
            <a:pPr marL="173038" indent="-17303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isassembly and </a:t>
            </a:r>
            <a:r>
              <a:rPr lang="en-US" sz="1400" b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</a:t>
            </a: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use of radically changes the supply architecture</a:t>
            </a:r>
          </a:p>
          <a:p>
            <a:pPr marL="173038" indent="-173038" defTabSz="91440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</a:pPr>
            <a:r>
              <a:rPr lang="en-US" sz="14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omplex deployments can be averted</a:t>
            </a:r>
            <a:endParaRPr lang="en-US" sz="140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7113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functional </a:t>
            </a:r>
            <a:r>
              <a:rPr lang="en-US" dirty="0"/>
              <a:t>LMSAM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4114800"/>
            <a:ext cx="2659872" cy="20701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97000" y="6248400"/>
            <a:ext cx="25657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Integrated Function</a:t>
            </a:r>
            <a:endParaRPr lang="en-US" sz="2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00" y="1206500"/>
            <a:ext cx="4203337" cy="22987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90600" y="3581400"/>
            <a:ext cx="44135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Deployable Structures (</a:t>
            </a:r>
            <a:r>
              <a:rPr lang="en-US" sz="2000" dirty="0" err="1" smtClean="0"/>
              <a:t>Starshade</a:t>
            </a:r>
            <a:r>
              <a:rPr lang="en-US" sz="2000" dirty="0" smtClean="0"/>
              <a:t>)</a:t>
            </a:r>
            <a:endParaRPr lang="en-US" sz="2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7600" y="4038601"/>
            <a:ext cx="2743200" cy="217672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181599" y="6260068"/>
            <a:ext cx="24888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 smtClean="0"/>
              <a:t>SoftGood</a:t>
            </a:r>
            <a:r>
              <a:rPr lang="en-US" sz="2000" dirty="0" smtClean="0"/>
              <a:t> Systems</a:t>
            </a:r>
            <a:endParaRPr lang="en-US" sz="2000" dirty="0"/>
          </a:p>
        </p:txBody>
      </p:sp>
      <p:sp>
        <p:nvSpPr>
          <p:cNvPr id="12" name="TextBox 11"/>
          <p:cNvSpPr txBox="1"/>
          <p:nvPr/>
        </p:nvSpPr>
        <p:spPr>
          <a:xfrm>
            <a:off x="5334000" y="3276600"/>
            <a:ext cx="3429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Functionally Graded Materials and Manufacturing</a:t>
            </a:r>
            <a:endParaRPr lang="en-US" sz="20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6400" y="1371600"/>
            <a:ext cx="2848162" cy="1905000"/>
          </a:xfrm>
          <a:prstGeom prst="rect">
            <a:avLst/>
          </a:prstGeom>
        </p:spPr>
      </p:pic>
      <p:sp>
        <p:nvSpPr>
          <p:cNvPr id="14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99500" y="6560471"/>
            <a:ext cx="327481" cy="310229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z="1000" smtClean="0">
                <a:latin typeface="Arial"/>
                <a:cs typeface="Arial"/>
              </a:rPr>
              <a:pPr/>
              <a:t>14</a:t>
            </a:fld>
            <a:endParaRPr lang="en-US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6049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4" descr="pipeline_bkgd-0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Rounded Rectangle 49"/>
          <p:cNvSpPr/>
          <p:nvPr/>
        </p:nvSpPr>
        <p:spPr>
          <a:xfrm>
            <a:off x="3121716" y="1711960"/>
            <a:ext cx="5709920" cy="894080"/>
          </a:xfrm>
          <a:prstGeom prst="roundRect">
            <a:avLst/>
          </a:prstGeom>
          <a:gradFill>
            <a:gsLst>
              <a:gs pos="19000">
                <a:schemeClr val="tx1"/>
              </a:gs>
              <a:gs pos="45000">
                <a:schemeClr val="tx1">
                  <a:lumMod val="65000"/>
                  <a:lumOff val="35000"/>
                  <a:alpha val="58000"/>
                </a:schemeClr>
              </a:gs>
              <a:gs pos="84000">
                <a:schemeClr val="tx1"/>
              </a:gs>
            </a:gsLst>
            <a:lin ang="18900000" scaled="0"/>
          </a:gradFill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kern="1200"/>
          </a:p>
        </p:txBody>
      </p:sp>
      <p:sp>
        <p:nvSpPr>
          <p:cNvPr id="51" name="Rounded Rectangle 50"/>
          <p:cNvSpPr/>
          <p:nvPr/>
        </p:nvSpPr>
        <p:spPr>
          <a:xfrm>
            <a:off x="1029289" y="3505200"/>
            <a:ext cx="7500031" cy="894080"/>
          </a:xfrm>
          <a:prstGeom prst="roundRect">
            <a:avLst/>
          </a:prstGeom>
          <a:gradFill>
            <a:gsLst>
              <a:gs pos="19000">
                <a:schemeClr val="tx1"/>
              </a:gs>
              <a:gs pos="45000">
                <a:schemeClr val="tx1">
                  <a:lumMod val="65000"/>
                  <a:lumOff val="35000"/>
                  <a:alpha val="58000"/>
                </a:schemeClr>
              </a:gs>
              <a:gs pos="84000">
                <a:schemeClr val="tx1"/>
              </a:gs>
            </a:gsLst>
            <a:lin ang="18900000" scaled="0"/>
          </a:gradFill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kern="1200"/>
          </a:p>
        </p:txBody>
      </p:sp>
      <p:sp>
        <p:nvSpPr>
          <p:cNvPr id="52" name="Rounded Rectangle 51"/>
          <p:cNvSpPr/>
          <p:nvPr/>
        </p:nvSpPr>
        <p:spPr>
          <a:xfrm>
            <a:off x="234242" y="5054600"/>
            <a:ext cx="5690989" cy="894080"/>
          </a:xfrm>
          <a:prstGeom prst="roundRect">
            <a:avLst/>
          </a:prstGeom>
          <a:gradFill>
            <a:gsLst>
              <a:gs pos="19000">
                <a:schemeClr val="tx1"/>
              </a:gs>
              <a:gs pos="45000">
                <a:schemeClr val="tx1">
                  <a:lumMod val="65000"/>
                  <a:lumOff val="35000"/>
                  <a:alpha val="58000"/>
                </a:schemeClr>
              </a:gs>
              <a:gs pos="84000">
                <a:schemeClr val="tx1"/>
              </a:gs>
            </a:gsLst>
            <a:lin ang="18900000" scaled="0"/>
          </a:gradFill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kern="1200" dirty="0" smtClean="0"/>
              <a:t> </a:t>
            </a:r>
            <a:endParaRPr lang="en-US" kern="1200" dirty="0"/>
          </a:p>
        </p:txBody>
      </p:sp>
      <p:sp>
        <p:nvSpPr>
          <p:cNvPr id="9" name="Oval 8"/>
          <p:cNvSpPr/>
          <p:nvPr/>
        </p:nvSpPr>
        <p:spPr bwMode="auto">
          <a:xfrm>
            <a:off x="1540934" y="1485368"/>
            <a:ext cx="1371600" cy="13716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2400">
              <a:solidFill>
                <a:srgbClr val="FFFFFF"/>
              </a:solidFill>
              <a:latin typeface="Helvetica Neue Black Condensed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Slide Number Placeholder 1"/>
          <p:cNvSpPr txBox="1">
            <a:spLocks/>
          </p:cNvSpPr>
          <p:nvPr/>
        </p:nvSpPr>
        <p:spPr>
          <a:xfrm>
            <a:off x="6781800" y="6495395"/>
            <a:ext cx="2133600" cy="210205"/>
          </a:xfrm>
          <a:prstGeom prst="rect">
            <a:avLst/>
          </a:prstGeom>
        </p:spPr>
        <p:txBody>
          <a:bodyPr lIns="91429" tIns="45714" rIns="91429" bIns="45714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293" fontAlgn="base">
              <a:spcBef>
                <a:spcPct val="0"/>
              </a:spcBef>
              <a:spcAft>
                <a:spcPct val="0"/>
              </a:spcAft>
            </a:pPr>
            <a:fld id="{87B28F38-D049-5F43-A036-3D1F4DDC4C6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 defTabSz="914293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066" y="3410364"/>
            <a:ext cx="1199608" cy="10804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16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0354" y="3463209"/>
            <a:ext cx="1031927" cy="98540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Content Placeholder 4"/>
          <p:cNvPicPr>
            <a:picLocks noGrp="1" noChangeAspect="1"/>
          </p:cNvPicPr>
          <p:nvPr>
            <p:ph idx="4294967295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2773" y="3491800"/>
            <a:ext cx="1575010" cy="9363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4261" y="3388817"/>
            <a:ext cx="1152275" cy="112299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Title 1"/>
          <p:cNvSpPr txBox="1">
            <a:spLocks/>
          </p:cNvSpPr>
          <p:nvPr/>
        </p:nvSpPr>
        <p:spPr>
          <a:xfrm>
            <a:off x="1892300" y="25400"/>
            <a:ext cx="6438900" cy="1104900"/>
          </a:xfrm>
          <a:prstGeom prst="rect">
            <a:avLst/>
          </a:prstGeom>
        </p:spPr>
        <p:txBody>
          <a:bodyPr lIns="91429" tIns="45714" rIns="91429" bIns="45714"/>
          <a:lstStyle>
            <a:lvl1pPr algn="ctr" defTabSz="457146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457146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2pPr>
            <a:lvl3pPr algn="ctr" defTabSz="457146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3pPr>
            <a:lvl4pPr algn="ctr" defTabSz="457146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4pPr>
            <a:lvl5pPr algn="ctr" defTabSz="457146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5pPr>
            <a:lvl6pPr marL="457146" algn="ctr" defTabSz="457146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6pPr>
            <a:lvl7pPr marL="914293" algn="ctr" defTabSz="457146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7pPr>
            <a:lvl8pPr marL="1371440" algn="ctr" defTabSz="457146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8pPr>
            <a:lvl9pPr marL="1828586" algn="ctr" defTabSz="457146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9pPr>
          </a:lstStyle>
          <a:p>
            <a:pPr algn="l"/>
            <a:r>
              <a:rPr lang="en-US" altLang="en-US" sz="2400" dirty="0">
                <a:solidFill>
                  <a:prstClr val="white"/>
                </a:solidFill>
                <a:latin typeface="Arial"/>
                <a:cs typeface="Arial"/>
              </a:rPr>
              <a:t>Space </a:t>
            </a:r>
            <a:r>
              <a:rPr lang="en-US" altLang="en-US" sz="2400" dirty="0" smtClean="0">
                <a:solidFill>
                  <a:prstClr val="white"/>
                </a:solidFill>
                <a:latin typeface="Arial"/>
                <a:cs typeface="Arial"/>
              </a:rPr>
              <a:t>Technology Pipeline </a:t>
            </a:r>
            <a:r>
              <a:rPr lang="en-US" altLang="en-US" sz="2400" dirty="0">
                <a:solidFill>
                  <a:prstClr val="white"/>
                </a:solidFill>
                <a:latin typeface="Arial"/>
                <a:cs typeface="Arial"/>
              </a:rPr>
              <a:t>of </a:t>
            </a:r>
            <a:r>
              <a:rPr lang="en-US" altLang="en-US" sz="2400" dirty="0" smtClean="0">
                <a:solidFill>
                  <a:prstClr val="white"/>
                </a:solidFill>
                <a:latin typeface="Arial"/>
                <a:cs typeface="Arial"/>
              </a:rPr>
              <a:t>Innovation: </a:t>
            </a:r>
          </a:p>
          <a:p>
            <a:pPr algn="l"/>
            <a:r>
              <a:rPr lang="en-US" altLang="en-US" sz="2400" dirty="0" smtClean="0">
                <a:solidFill>
                  <a:prstClr val="white"/>
                </a:solidFill>
                <a:latin typeface="Arial"/>
                <a:cs typeface="Arial"/>
              </a:rPr>
              <a:t>CNT Materials Example</a:t>
            </a:r>
            <a:endParaRPr lang="en-US" sz="24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035025" y="4739767"/>
            <a:ext cx="2835214" cy="1296160"/>
            <a:chOff x="297450" y="4681307"/>
            <a:chExt cx="2835214" cy="1296160"/>
          </a:xfrm>
        </p:grpSpPr>
        <p:sp>
          <p:nvSpPr>
            <p:cNvPr id="30" name="TextBox 29"/>
            <p:cNvSpPr txBox="1"/>
            <p:nvPr/>
          </p:nvSpPr>
          <p:spPr>
            <a:xfrm>
              <a:off x="297450" y="4681307"/>
              <a:ext cx="17526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Early Stage</a:t>
              </a:r>
              <a:endParaRPr lang="en-US" sz="1600" b="1" i="1" dirty="0">
                <a:solidFill>
                  <a:prstClr val="white"/>
                </a:solidFill>
                <a:latin typeface="Avenir Heavy"/>
                <a:ea typeface="ＭＳ Ｐゴシック" charset="-128"/>
                <a:cs typeface="Avenir Heavy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89465" y="5023360"/>
              <a:ext cx="2743199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19063" indent="-1190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Space Tech Research Grants (ESI)</a:t>
              </a:r>
            </a:p>
            <a:p>
              <a:pPr marL="119063" indent="-1190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Center Innovation Fund</a:t>
              </a:r>
            </a:p>
            <a:p>
              <a:pPr marL="119063" indent="-1190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Center IRAD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2467" y="1207809"/>
            <a:ext cx="3331105" cy="1076766"/>
            <a:chOff x="5779029" y="1174043"/>
            <a:chExt cx="3331105" cy="1076766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5779029" y="1174043"/>
              <a:ext cx="332263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600" b="1" dirty="0" smtClean="0">
                  <a:solidFill>
                    <a:prstClr val="white"/>
                  </a:solidFill>
                  <a:latin typeface="Avenir Heavy"/>
                  <a:cs typeface="Avenir Heavy"/>
                </a:rPr>
                <a:t>New Technology Partners</a:t>
              </a:r>
              <a:endParaRPr lang="en-US" altLang="en-US" sz="1600" b="1" i="1" dirty="0" smtClean="0">
                <a:solidFill>
                  <a:prstClr val="white"/>
                </a:solidFill>
                <a:latin typeface="Avenir Heavy"/>
                <a:cs typeface="Avenir Heavy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016096" y="1512145"/>
              <a:ext cx="3094038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19063" indent="-1190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SBIR Phase I, II &amp; III</a:t>
              </a:r>
            </a:p>
            <a:p>
              <a:pPr marL="119063" indent="-119063" fontAlgn="base">
                <a:spcBef>
                  <a:spcPct val="0"/>
                </a:spcBef>
                <a:spcAft>
                  <a:spcPct val="0"/>
                </a:spcAft>
                <a:buFont typeface="Arial"/>
                <a:buChar char="•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Flight Opportunities</a:t>
              </a:r>
            </a:p>
            <a:p>
              <a:pPr marL="228600" lvl="1" indent="-111125" fontAlgn="base">
                <a:spcBef>
                  <a:spcPct val="0"/>
                </a:spcBef>
                <a:spcAft>
                  <a:spcPct val="0"/>
                </a:spcAft>
                <a:buSzPct val="75000"/>
                <a:buFont typeface="Courier New"/>
                <a:buChar char="o"/>
                <a:defRPr/>
              </a:pPr>
              <a:r>
                <a:rPr lang="en-US" sz="1400" dirty="0">
                  <a:solidFill>
                    <a:prstClr val="white"/>
                  </a:solidFill>
                  <a:latin typeface="Avenir Heavy"/>
                  <a:ea typeface="ＭＳ Ｐゴシック" charset="-128"/>
                  <a:cs typeface="Avenir Heavy"/>
                </a:rPr>
                <a:t>Wallops Sounding Rocket</a:t>
              </a:r>
            </a:p>
          </p:txBody>
        </p:sp>
      </p:grpSp>
      <p:sp>
        <p:nvSpPr>
          <p:cNvPr id="35" name="Rectangle 34"/>
          <p:cNvSpPr/>
          <p:nvPr/>
        </p:nvSpPr>
        <p:spPr>
          <a:xfrm>
            <a:off x="1003889" y="2700649"/>
            <a:ext cx="4428066" cy="5588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FFFFFF"/>
                </a:solidFill>
                <a:latin typeface="Avenir Heavy"/>
                <a:cs typeface="Avenir Heavy"/>
              </a:rPr>
              <a:t>Mid </a:t>
            </a:r>
            <a:r>
              <a:rPr lang="en-US" sz="2000" dirty="0" smtClean="0">
                <a:solidFill>
                  <a:srgbClr val="FFFFFF"/>
                </a:solidFill>
                <a:latin typeface="Avenir Heavy"/>
                <a:cs typeface="Avenir Heavy"/>
              </a:rPr>
              <a:t>TRL</a:t>
            </a:r>
            <a:r>
              <a:rPr lang="en-US" sz="1200" dirty="0">
                <a:solidFill>
                  <a:srgbClr val="FFFFFF"/>
                </a:solidFill>
                <a:latin typeface="Avenir Heavy"/>
                <a:cs typeface="Avenir Heavy"/>
              </a:rPr>
              <a:t> </a:t>
            </a:r>
            <a:r>
              <a:rPr lang="en-US" sz="1200" dirty="0" smtClean="0">
                <a:solidFill>
                  <a:srgbClr val="FFFFFF"/>
                </a:solidFill>
                <a:latin typeface="Avenir Heavy"/>
                <a:cs typeface="Avenir Heavy"/>
              </a:rPr>
              <a:t>- </a:t>
            </a:r>
            <a:r>
              <a:rPr lang="en-US" sz="1400" dirty="0" smtClean="0">
                <a:solidFill>
                  <a:srgbClr val="FFFFFF"/>
                </a:solidFill>
                <a:latin typeface="Avenir Heavy"/>
                <a:cs typeface="Avenir Heavy"/>
              </a:rPr>
              <a:t>Game </a:t>
            </a:r>
            <a:r>
              <a:rPr lang="en-US" sz="1400" dirty="0">
                <a:solidFill>
                  <a:srgbClr val="FFFFFF"/>
                </a:solidFill>
                <a:latin typeface="Avenir Heavy"/>
                <a:cs typeface="Avenir Heavy"/>
              </a:rPr>
              <a:t>Changing Development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234" y="4970284"/>
            <a:ext cx="1133698" cy="108257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47" descr="LaRC-winder V2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8344" y="4918873"/>
            <a:ext cx="1119089" cy="1186811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4736" y="4933808"/>
            <a:ext cx="1148831" cy="11027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6959" y="4993538"/>
            <a:ext cx="1137278" cy="102236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7" name="TextBox 36"/>
          <p:cNvSpPr txBox="1"/>
          <p:nvPr/>
        </p:nvSpPr>
        <p:spPr>
          <a:xfrm>
            <a:off x="147838" y="4486409"/>
            <a:ext cx="1405466" cy="369332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prstClr val="white"/>
                </a:solidFill>
                <a:latin typeface="Arial" charset="0"/>
                <a:ea typeface="ＭＳ Ｐゴシック" charset="-128"/>
                <a:cs typeface="ＭＳ Ｐゴシック" charset="-128"/>
              </a:rPr>
              <a:t>Low TRL</a:t>
            </a:r>
            <a:endParaRPr lang="en-US" b="1" i="1" dirty="0">
              <a:solidFill>
                <a:prstClr val="white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2176" y="3439922"/>
            <a:ext cx="1144542" cy="105461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6" name="Picture 35" descr="honey comb nano top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71765" y="3614470"/>
            <a:ext cx="1162634" cy="74303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0814" y="1540666"/>
            <a:ext cx="1348957" cy="130222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Picture 2" descr="D:\Baysinger\Mars 2014\lander RH cases\pics\18t l3 iso.png"/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173" y="1561207"/>
            <a:ext cx="1304790" cy="13984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3198558" y="1114734"/>
            <a:ext cx="6358474" cy="646331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prstClr val="white"/>
                </a:solidFill>
                <a:latin typeface="Arial" charset="0"/>
                <a:ea typeface="ＭＳ Ｐゴシック" charset="-128"/>
                <a:cs typeface="ＭＳ Ｐゴシック" charset="-128"/>
              </a:rPr>
              <a:t>High </a:t>
            </a:r>
            <a:r>
              <a:rPr lang="en-US" b="1" dirty="0" smtClean="0">
                <a:solidFill>
                  <a:prstClr val="white"/>
                </a:solidFill>
                <a:latin typeface="Arial" charset="0"/>
                <a:ea typeface="ＭＳ Ｐゴシック" charset="-128"/>
                <a:cs typeface="ＭＳ Ｐゴシック" charset="-128"/>
              </a:rPr>
              <a:t>TRL – </a:t>
            </a:r>
            <a:r>
              <a:rPr lang="en-US" altLang="en-US" sz="1400" b="1" dirty="0" smtClean="0">
                <a:solidFill>
                  <a:srgbClr val="FFFFFF"/>
                </a:solidFill>
                <a:latin typeface="Calibri"/>
                <a:cs typeface="ＭＳ Ｐゴシック" charset="-128"/>
              </a:rPr>
              <a:t>Technology Demonstration Missions</a:t>
            </a:r>
            <a:endParaRPr lang="en-US" altLang="en-US" sz="1400" b="1" dirty="0">
              <a:solidFill>
                <a:srgbClr val="FFFFFF"/>
              </a:solidFill>
              <a:latin typeface="Calibri"/>
              <a:cs typeface="ＭＳ Ｐゴシック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i="1" dirty="0">
              <a:solidFill>
                <a:srgbClr val="FFFFFF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6438" y="1583823"/>
            <a:ext cx="1306614" cy="114583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5298" y="1662100"/>
            <a:ext cx="744806" cy="968412"/>
          </a:xfrm>
          <a:prstGeom prst="ellipse">
            <a:avLst/>
          </a:prstGeom>
          <a:ln w="9525" cap="rnd" cmpd="sng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2" name="TextBox 21"/>
          <p:cNvSpPr txBox="1"/>
          <p:nvPr/>
        </p:nvSpPr>
        <p:spPr>
          <a:xfrm>
            <a:off x="1902641" y="4620188"/>
            <a:ext cx="9590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omputational </a:t>
            </a:r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Nanomaterials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05112" y="4774077"/>
            <a:ext cx="7241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NT Sheet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203872" y="1434568"/>
            <a:ext cx="16244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Hybrid CF/CNT Demo Unit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20657" y="4620188"/>
            <a:ext cx="9590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High Strength CNT Yarn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472" y="4620188"/>
            <a:ext cx="10509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NT Processing Development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07466" y="3101847"/>
            <a:ext cx="13675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ommercial Scale</a:t>
            </a:r>
          </a:p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 CNT Yarn </a:t>
            </a:r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Mfg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695230" y="3101847"/>
            <a:ext cx="11952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Demo Article Process Prototype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778086" y="3101847"/>
            <a:ext cx="10509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NT COPV </a:t>
            </a:r>
            <a:r>
              <a:rPr lang="en-US" sz="1000" dirty="0" err="1" smtClean="0">
                <a:solidFill>
                  <a:prstClr val="white"/>
                </a:solidFill>
                <a:latin typeface="Calibri"/>
              </a:rPr>
              <a:t>Mfg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923935" y="3101847"/>
            <a:ext cx="10509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NT COPV Burst Test Articles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331986" y="3101847"/>
            <a:ext cx="8996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CNT COPV Flight Tests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483438" y="3101847"/>
            <a:ext cx="10509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  <a:latin typeface="Calibri"/>
              </a:rPr>
              <a:t>Hybrid CF/CNT Composite</a:t>
            </a:r>
            <a:endParaRPr lang="en-US" sz="10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1846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7" y="168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7" y="168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26647"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1752600" y="228600"/>
            <a:ext cx="6532210" cy="693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2400" b="1" dirty="0" smtClean="0">
                <a:solidFill>
                  <a:prstClr val="white"/>
                </a:solidFill>
                <a:latin typeface="Calibri"/>
              </a:rPr>
              <a:t>LMSAM Capability Areas</a:t>
            </a: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57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5800" y="1905000"/>
            <a:ext cx="1447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Human Rated Composit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5908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24400" y="1752600"/>
            <a:ext cx="1752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functional Material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648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38400" y="1752600"/>
            <a:ext cx="2286000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(ISM) and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Assembly (ISA)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7056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781800" y="1828800"/>
            <a:ext cx="1752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ructures and Materials for Extreme </a:t>
            </a: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nvironment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72000" y="1752600"/>
            <a:ext cx="2286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functional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terials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nd Structur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Oval 3"/>
          <p:cNvSpPr/>
          <p:nvPr/>
        </p:nvSpPr>
        <p:spPr>
          <a:xfrm>
            <a:off x="6570133" y="1612900"/>
            <a:ext cx="2243667" cy="1955800"/>
          </a:xfrm>
          <a:prstGeom prst="ellipse">
            <a:avLst/>
          </a:prstGeom>
          <a:noFill/>
          <a:ln w="57150" cmpd="sng">
            <a:solidFill>
              <a:srgbClr val="CC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457200" y="3733800"/>
            <a:ext cx="1905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abitat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ryogenic Tank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Launch Vehicle Dry Structure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Space and Surface Vehicles </a:t>
            </a:r>
            <a:endParaRPr lang="en-US" sz="1400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2590800" y="3733800"/>
            <a:ext cx="1905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A</a:t>
            </a:r>
            <a:r>
              <a:rPr lang="en-US" sz="1400" i="1" dirty="0" smtClean="0"/>
              <a:t> 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M </a:t>
            </a:r>
            <a:r>
              <a:rPr lang="en-US" sz="1400" i="1" dirty="0" smtClean="0"/>
              <a:t>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System Concepts</a:t>
            </a:r>
          </a:p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A </a:t>
            </a:r>
            <a:r>
              <a:rPr lang="en-US" sz="1400" i="1" dirty="0" smtClean="0"/>
              <a:t>and</a:t>
            </a:r>
            <a:r>
              <a:rPr lang="en-US" sz="1400" b="1" i="1" dirty="0" smtClean="0"/>
              <a:t> ISM </a:t>
            </a:r>
            <a:r>
              <a:rPr lang="en-US" sz="1400" i="1" dirty="0" smtClean="0"/>
              <a:t>Operations</a:t>
            </a:r>
            <a:endParaRPr lang="en-US" sz="14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4648200" y="3733800"/>
            <a:ext cx="1905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err="1" smtClean="0"/>
              <a:t>Deployables</a:t>
            </a:r>
            <a:r>
              <a:rPr lang="en-US" sz="1400" i="1" dirty="0" smtClean="0"/>
              <a:t>, </a:t>
            </a:r>
            <a:r>
              <a:rPr lang="en-US" sz="1400" i="1" dirty="0" err="1" smtClean="0"/>
              <a:t>Softgoods</a:t>
            </a:r>
            <a:r>
              <a:rPr lang="en-US" sz="1400" i="1" dirty="0" smtClean="0"/>
              <a:t>, Modularity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nufacturing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terial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Multifunctional Integration</a:t>
            </a:r>
            <a:endParaRPr lang="en-US" sz="1400" i="1" dirty="0"/>
          </a:p>
        </p:txBody>
      </p:sp>
      <p:sp>
        <p:nvSpPr>
          <p:cNvPr id="21" name="TextBox 20"/>
          <p:cNvSpPr txBox="1"/>
          <p:nvPr/>
        </p:nvSpPr>
        <p:spPr>
          <a:xfrm>
            <a:off x="6781800" y="3733800"/>
            <a:ext cx="1905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Propulsion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ot Structures and TP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old Mechanism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Dust/Radiation/Space Environmental Effects (SEE)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00029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400" y="3064943"/>
            <a:ext cx="2278044" cy="18295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SA Extreme Environmen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1219200"/>
            <a:ext cx="1804921" cy="1524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89857" y="2572659"/>
            <a:ext cx="149927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/>
              <a:t>Europa Lander</a:t>
            </a:r>
          </a:p>
          <a:p>
            <a:r>
              <a:rPr lang="en-US" sz="1600" dirty="0" smtClean="0"/>
              <a:t>Launch ~2023</a:t>
            </a:r>
            <a:endParaRPr lang="en-US" sz="16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4600" y="1143001"/>
            <a:ext cx="2061882" cy="1524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382762" y="2682725"/>
            <a:ext cx="2322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~50K min</a:t>
            </a:r>
            <a:r>
              <a:rPr lang="en-US" sz="1600" dirty="0"/>
              <a:t> </a:t>
            </a:r>
            <a:r>
              <a:rPr lang="en-US" sz="1600" dirty="0" smtClean="0"/>
              <a:t>- 125K Max 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6937830" y="1894114"/>
            <a:ext cx="212150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737K Mean, 0.015% Sulfur Dioxide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7138610" y="1372809"/>
            <a:ext cx="7603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/>
              <a:t>Venus</a:t>
            </a:r>
            <a:endParaRPr lang="en-US" sz="1400" b="1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2667000" y="2286000"/>
            <a:ext cx="846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Europa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5261" y="1126067"/>
            <a:ext cx="1899723" cy="19050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04800" y="4419600"/>
            <a:ext cx="14320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>
                <a:solidFill>
                  <a:srgbClr val="FFFFFF"/>
                </a:solidFill>
              </a:rPr>
              <a:t>Ocean Worlds</a:t>
            </a:r>
            <a:endParaRPr lang="en-US" sz="1400" b="1" i="1" dirty="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9810" y="6054869"/>
            <a:ext cx="389466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C</a:t>
            </a:r>
            <a:r>
              <a:rPr lang="en-US" sz="1600" dirty="0"/>
              <a:t>-C NE Attached to </a:t>
            </a:r>
            <a:r>
              <a:rPr lang="en-US" sz="1600" dirty="0" smtClean="0"/>
              <a:t>Engine ~2400</a:t>
            </a:r>
            <a:r>
              <a:rPr lang="en-US" sz="1600" baseline="30000" dirty="0" smtClean="0"/>
              <a:t>0</a:t>
            </a:r>
            <a:r>
              <a:rPr lang="en-US" sz="1600" dirty="0" smtClean="0"/>
              <a:t>F</a:t>
            </a:r>
            <a:endParaRPr lang="en-US" sz="1600" dirty="0"/>
          </a:p>
          <a:p>
            <a:pPr algn="ctr"/>
            <a:r>
              <a:rPr lang="en-US" sz="1600" dirty="0" smtClean="0"/>
              <a:t>Multiple Commercial Engine Candidates </a:t>
            </a:r>
            <a:endParaRPr lang="en-US" sz="16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9300" y="3090343"/>
            <a:ext cx="2853256" cy="203804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134981" y="2801268"/>
            <a:ext cx="7866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/>
              <a:t>MEDLI</a:t>
            </a:r>
            <a:endParaRPr lang="en-US" sz="1400" b="1" i="1" dirty="0"/>
          </a:p>
        </p:txBody>
      </p:sp>
      <p:sp>
        <p:nvSpPr>
          <p:cNvPr id="1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99500" y="6560471"/>
            <a:ext cx="327481" cy="310229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z="1000" smtClean="0">
                <a:latin typeface="Arial"/>
                <a:cs typeface="Arial"/>
              </a:rPr>
              <a:pPr/>
              <a:t>17</a:t>
            </a:fld>
            <a:endParaRPr lang="en-US" sz="1000" dirty="0"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459" y="4692942"/>
            <a:ext cx="2004213" cy="137009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0198" y="4729227"/>
            <a:ext cx="1991905" cy="13304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59" y="3096380"/>
            <a:ext cx="1595907" cy="1548795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790094" y="3422952"/>
            <a:ext cx="21529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NTP W</a:t>
            </a:r>
            <a:r>
              <a:rPr lang="en-US" sz="1600" dirty="0"/>
              <a:t>/Re sample loaded into heating </a:t>
            </a:r>
            <a:r>
              <a:rPr lang="en-US" sz="1600" dirty="0" smtClean="0"/>
              <a:t>coil ~4000</a:t>
            </a:r>
            <a:r>
              <a:rPr lang="en-US" sz="1600" baseline="30000" dirty="0" smtClean="0"/>
              <a:t>0</a:t>
            </a:r>
            <a:r>
              <a:rPr lang="en-US" sz="1600" dirty="0" smtClean="0"/>
              <a:t>F</a:t>
            </a:r>
            <a:endParaRPr lang="en-US" sz="16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5323" y="4908550"/>
            <a:ext cx="2652487" cy="1805573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579810" y="5527527"/>
            <a:ext cx="191104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icrometeoroid and Orbital Debri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46959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 noChangeArrowheads="1"/>
          </p:cNvSpPr>
          <p:nvPr/>
        </p:nvSpPr>
        <p:spPr bwMode="auto">
          <a:xfrm rot="21163818">
            <a:off x="4768537" y="2999243"/>
            <a:ext cx="909722" cy="594217"/>
          </a:xfrm>
          <a:custGeom>
            <a:avLst/>
            <a:gdLst>
              <a:gd name="T0" fmla="*/ 2147483647 w 9500"/>
              <a:gd name="T1" fmla="*/ 2147483647 h 6521"/>
              <a:gd name="T2" fmla="*/ 2147483647 w 9500"/>
              <a:gd name="T3" fmla="*/ 2147483647 h 6521"/>
              <a:gd name="T4" fmla="*/ 2147483647 w 9500"/>
              <a:gd name="T5" fmla="*/ 2147483647 h 6521"/>
              <a:gd name="T6" fmla="*/ 2147483647 w 9500"/>
              <a:gd name="T7" fmla="*/ 2147483647 h 6521"/>
              <a:gd name="T8" fmla="*/ 2147483647 w 9500"/>
              <a:gd name="T9" fmla="*/ 2147483647 h 6521"/>
              <a:gd name="T10" fmla="*/ 2147483647 w 9500"/>
              <a:gd name="T11" fmla="*/ 2147483647 h 6521"/>
              <a:gd name="T12" fmla="*/ 2147483647 w 9500"/>
              <a:gd name="T13" fmla="*/ 2147483647 h 6521"/>
              <a:gd name="T14" fmla="*/ 2147483647 w 9500"/>
              <a:gd name="T15" fmla="*/ 2147483647 h 6521"/>
              <a:gd name="T16" fmla="*/ 2147483647 w 9500"/>
              <a:gd name="T17" fmla="*/ 2147483647 h 6521"/>
              <a:gd name="T18" fmla="*/ 2147483647 w 9500"/>
              <a:gd name="T19" fmla="*/ 2147483647 h 6521"/>
              <a:gd name="T20" fmla="*/ 2147483647 w 9500"/>
              <a:gd name="T21" fmla="*/ 2147483647 h 6521"/>
              <a:gd name="T22" fmla="*/ 2147483647 w 9500"/>
              <a:gd name="T23" fmla="*/ 2147483647 h 6521"/>
              <a:gd name="T24" fmla="*/ 2147483647 w 9500"/>
              <a:gd name="T25" fmla="*/ 2147483647 h 6521"/>
              <a:gd name="T26" fmla="*/ 2147483647 w 9500"/>
              <a:gd name="T27" fmla="*/ 2147483647 h 6521"/>
              <a:gd name="T28" fmla="*/ 2147483647 w 9500"/>
              <a:gd name="T29" fmla="*/ 2147483647 h 6521"/>
              <a:gd name="T30" fmla="*/ 2147483647 w 9500"/>
              <a:gd name="T31" fmla="*/ 2147483647 h 6521"/>
              <a:gd name="T32" fmla="*/ 2147483647 w 9500"/>
              <a:gd name="T33" fmla="*/ 2147483647 h 6521"/>
              <a:gd name="T34" fmla="*/ 2147483647 w 9500"/>
              <a:gd name="T35" fmla="*/ 2147483647 h 6521"/>
              <a:gd name="T36" fmla="*/ 2147483647 w 9500"/>
              <a:gd name="T37" fmla="*/ 2147483647 h 6521"/>
              <a:gd name="T38" fmla="*/ 2147483647 w 9500"/>
              <a:gd name="T39" fmla="*/ 2147483647 h 6521"/>
              <a:gd name="T40" fmla="*/ 2147483647 w 9500"/>
              <a:gd name="T41" fmla="*/ 2147483647 h 6521"/>
              <a:gd name="T42" fmla="*/ 2147483647 w 9500"/>
              <a:gd name="T43" fmla="*/ 2147483647 h 6521"/>
              <a:gd name="T44" fmla="*/ 2147483647 w 9500"/>
              <a:gd name="T45" fmla="*/ 2147483647 h 6521"/>
              <a:gd name="T46" fmla="*/ 2147483647 w 9500"/>
              <a:gd name="T47" fmla="*/ 2147483647 h 6521"/>
              <a:gd name="T48" fmla="*/ 2147483647 w 9500"/>
              <a:gd name="T49" fmla="*/ 2147483647 h 6521"/>
              <a:gd name="T50" fmla="*/ 2147483647 w 9500"/>
              <a:gd name="T51" fmla="*/ 2147483647 h 6521"/>
              <a:gd name="T52" fmla="*/ 2147483647 w 9500"/>
              <a:gd name="T53" fmla="*/ 2147483647 h 6521"/>
              <a:gd name="T54" fmla="*/ 2147483647 w 9500"/>
              <a:gd name="T55" fmla="*/ 2147483647 h 6521"/>
              <a:gd name="T56" fmla="*/ 2147483647 w 9500"/>
              <a:gd name="T57" fmla="*/ 2147483647 h 6521"/>
              <a:gd name="T58" fmla="*/ 2147483647 w 9500"/>
              <a:gd name="T59" fmla="*/ 2147483647 h 6521"/>
              <a:gd name="T60" fmla="*/ 0 w 9500"/>
              <a:gd name="T61" fmla="*/ 2147483647 h 6521"/>
              <a:gd name="T62" fmla="*/ 2147483647 w 9500"/>
              <a:gd name="T63" fmla="*/ 2147483647 h 6521"/>
              <a:gd name="T64" fmla="*/ 2147483647 w 9500"/>
              <a:gd name="T65" fmla="*/ 2147483647 h 6521"/>
              <a:gd name="T66" fmla="*/ 2147483647 w 9500"/>
              <a:gd name="T67" fmla="*/ 2147483647 h 652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connsiteX0" fmla="*/ 257 w 9999"/>
              <a:gd name="connsiteY0" fmla="*/ 0 h 9998"/>
              <a:gd name="connsiteX1" fmla="*/ 8447 w 9999"/>
              <a:gd name="connsiteY1" fmla="*/ 90 h 9998"/>
              <a:gd name="connsiteX2" fmla="*/ 8352 w 9999"/>
              <a:gd name="connsiteY2" fmla="*/ 561 h 9998"/>
              <a:gd name="connsiteX3" fmla="*/ 8681 w 9999"/>
              <a:gd name="connsiteY3" fmla="*/ 969 h 9998"/>
              <a:gd name="connsiteX4" fmla="*/ 8425 w 9999"/>
              <a:gd name="connsiteY4" fmla="*/ 1225 h 9998"/>
              <a:gd name="connsiteX5" fmla="*/ 8425 w 9999"/>
              <a:gd name="connsiteY5" fmla="*/ 1938 h 9998"/>
              <a:gd name="connsiteX6" fmla="*/ 8536 w 9999"/>
              <a:gd name="connsiteY6" fmla="*/ 2194 h 9998"/>
              <a:gd name="connsiteX7" fmla="*/ 8571 w 9999"/>
              <a:gd name="connsiteY7" fmla="*/ 2501 h 9998"/>
              <a:gd name="connsiteX8" fmla="*/ 8975 w 9999"/>
              <a:gd name="connsiteY8" fmla="*/ 3010 h 9998"/>
              <a:gd name="connsiteX9" fmla="*/ 9232 w 9999"/>
              <a:gd name="connsiteY9" fmla="*/ 3519 h 9998"/>
              <a:gd name="connsiteX10" fmla="*/ 9560 w 9999"/>
              <a:gd name="connsiteY10" fmla="*/ 3929 h 9998"/>
              <a:gd name="connsiteX11" fmla="*/ 9742 w 9999"/>
              <a:gd name="connsiteY11" fmla="*/ 4285 h 9998"/>
              <a:gd name="connsiteX12" fmla="*/ 9889 w 9999"/>
              <a:gd name="connsiteY12" fmla="*/ 4541 h 9998"/>
              <a:gd name="connsiteX13" fmla="*/ 9999 w 9999"/>
              <a:gd name="connsiteY13" fmla="*/ 5306 h 9998"/>
              <a:gd name="connsiteX14" fmla="*/ 9780 w 9999"/>
              <a:gd name="connsiteY14" fmla="*/ 5764 h 9998"/>
              <a:gd name="connsiteX15" fmla="*/ 9669 w 9999"/>
              <a:gd name="connsiteY15" fmla="*/ 6021 h 9998"/>
              <a:gd name="connsiteX16" fmla="*/ 9669 w 9999"/>
              <a:gd name="connsiteY16" fmla="*/ 6479 h 9998"/>
              <a:gd name="connsiteX17" fmla="*/ 9232 w 9999"/>
              <a:gd name="connsiteY17" fmla="*/ 6427 h 9998"/>
              <a:gd name="connsiteX18" fmla="*/ 8901 w 9999"/>
              <a:gd name="connsiteY18" fmla="*/ 6683 h 9998"/>
              <a:gd name="connsiteX19" fmla="*/ 8755 w 9999"/>
              <a:gd name="connsiteY19" fmla="*/ 6887 h 9998"/>
              <a:gd name="connsiteX20" fmla="*/ 8571 w 9999"/>
              <a:gd name="connsiteY20" fmla="*/ 7295 h 9998"/>
              <a:gd name="connsiteX21" fmla="*/ 8608 w 9999"/>
              <a:gd name="connsiteY21" fmla="*/ 7654 h 9998"/>
              <a:gd name="connsiteX22" fmla="*/ 8792 w 9999"/>
              <a:gd name="connsiteY22" fmla="*/ 8264 h 9998"/>
              <a:gd name="connsiteX23" fmla="*/ 8536 w 9999"/>
              <a:gd name="connsiteY23" fmla="*/ 8623 h 9998"/>
              <a:gd name="connsiteX24" fmla="*/ 8536 w 9999"/>
              <a:gd name="connsiteY24" fmla="*/ 9031 h 9998"/>
              <a:gd name="connsiteX25" fmla="*/ 8536 w 9999"/>
              <a:gd name="connsiteY25" fmla="*/ 9285 h 9998"/>
              <a:gd name="connsiteX26" fmla="*/ 8169 w 9999"/>
              <a:gd name="connsiteY26" fmla="*/ 9437 h 9998"/>
              <a:gd name="connsiteX27" fmla="*/ 8096 w 9999"/>
              <a:gd name="connsiteY27" fmla="*/ 9692 h 9998"/>
              <a:gd name="connsiteX28" fmla="*/ 8133 w 9999"/>
              <a:gd name="connsiteY28" fmla="*/ 9948 h 9998"/>
              <a:gd name="connsiteX29" fmla="*/ 8022 w 9999"/>
              <a:gd name="connsiteY29" fmla="*/ 9998 h 9998"/>
              <a:gd name="connsiteX30" fmla="*/ 7765 w 9999"/>
              <a:gd name="connsiteY30" fmla="*/ 9641 h 9998"/>
              <a:gd name="connsiteX31" fmla="*/ 7545 w 9999"/>
              <a:gd name="connsiteY31" fmla="*/ 9540 h 9998"/>
              <a:gd name="connsiteX32" fmla="*/ 7399 w 9999"/>
              <a:gd name="connsiteY32" fmla="*/ 9437 h 9998"/>
              <a:gd name="connsiteX33" fmla="*/ 1502 w 9999"/>
              <a:gd name="connsiteY33" fmla="*/ 9641 h 9998"/>
              <a:gd name="connsiteX34" fmla="*/ 1428 w 9999"/>
              <a:gd name="connsiteY34" fmla="*/ 9183 h 9998"/>
              <a:gd name="connsiteX35" fmla="*/ 1428 w 9999"/>
              <a:gd name="connsiteY35" fmla="*/ 9083 h 9998"/>
              <a:gd name="connsiteX36" fmla="*/ 1428 w 9999"/>
              <a:gd name="connsiteY36" fmla="*/ 8724 h 9998"/>
              <a:gd name="connsiteX37" fmla="*/ 1466 w 9999"/>
              <a:gd name="connsiteY37" fmla="*/ 8419 h 9998"/>
              <a:gd name="connsiteX38" fmla="*/ 1392 w 9999"/>
              <a:gd name="connsiteY38" fmla="*/ 7959 h 9998"/>
              <a:gd name="connsiteX39" fmla="*/ 1246 w 9999"/>
              <a:gd name="connsiteY39" fmla="*/ 7396 h 9998"/>
              <a:gd name="connsiteX40" fmla="*/ 1173 w 9999"/>
              <a:gd name="connsiteY40" fmla="*/ 6990 h 9998"/>
              <a:gd name="connsiteX41" fmla="*/ 1356 w 9999"/>
              <a:gd name="connsiteY41" fmla="*/ 6683 h 9998"/>
              <a:gd name="connsiteX42" fmla="*/ 1062 w 9999"/>
              <a:gd name="connsiteY42" fmla="*/ 6225 h 9998"/>
              <a:gd name="connsiteX43" fmla="*/ 1062 w 9999"/>
              <a:gd name="connsiteY43" fmla="*/ 6123 h 9998"/>
              <a:gd name="connsiteX44" fmla="*/ 1100 w 9999"/>
              <a:gd name="connsiteY44" fmla="*/ 5613 h 9998"/>
              <a:gd name="connsiteX45" fmla="*/ 953 w 9999"/>
              <a:gd name="connsiteY45" fmla="*/ 5203 h 9998"/>
              <a:gd name="connsiteX46" fmla="*/ 696 w 9999"/>
              <a:gd name="connsiteY46" fmla="*/ 4387 h 9998"/>
              <a:gd name="connsiteX47" fmla="*/ 623 w 9999"/>
              <a:gd name="connsiteY47" fmla="*/ 3775 h 9998"/>
              <a:gd name="connsiteX48" fmla="*/ 623 w 9999"/>
              <a:gd name="connsiteY48" fmla="*/ 3366 h 9998"/>
              <a:gd name="connsiteX49" fmla="*/ 0 w 9999"/>
              <a:gd name="connsiteY49" fmla="*/ 2552 h 9998"/>
              <a:gd name="connsiteX50" fmla="*/ 477 w 9999"/>
              <a:gd name="connsiteY50" fmla="*/ 1990 h 9998"/>
              <a:gd name="connsiteX51" fmla="*/ 477 w 9999"/>
              <a:gd name="connsiteY51" fmla="*/ 1736 h 9998"/>
              <a:gd name="connsiteX52" fmla="*/ 477 w 9999"/>
              <a:gd name="connsiteY52" fmla="*/ 969 h 9998"/>
              <a:gd name="connsiteX53" fmla="*/ 147 w 9999"/>
              <a:gd name="connsiteY53" fmla="*/ 459 h 9998"/>
              <a:gd name="connsiteX54" fmla="*/ 257 w 9999"/>
              <a:gd name="connsiteY54" fmla="*/ 0 h 9998"/>
              <a:gd name="connsiteX0" fmla="*/ 257 w 10000"/>
              <a:gd name="connsiteY0" fmla="*/ 0 h 10000"/>
              <a:gd name="connsiteX1" fmla="*/ 8448 w 10000"/>
              <a:gd name="connsiteY1" fmla="*/ 90 h 10000"/>
              <a:gd name="connsiteX2" fmla="*/ 8353 w 10000"/>
              <a:gd name="connsiteY2" fmla="*/ 561 h 10000"/>
              <a:gd name="connsiteX3" fmla="*/ 8682 w 10000"/>
              <a:gd name="connsiteY3" fmla="*/ 969 h 10000"/>
              <a:gd name="connsiteX4" fmla="*/ 8631 w 10000"/>
              <a:gd name="connsiteY4" fmla="*/ 1264 h 10000"/>
              <a:gd name="connsiteX5" fmla="*/ 8426 w 10000"/>
              <a:gd name="connsiteY5" fmla="*/ 1938 h 10000"/>
              <a:gd name="connsiteX6" fmla="*/ 8537 w 10000"/>
              <a:gd name="connsiteY6" fmla="*/ 2194 h 10000"/>
              <a:gd name="connsiteX7" fmla="*/ 8572 w 10000"/>
              <a:gd name="connsiteY7" fmla="*/ 2502 h 10000"/>
              <a:gd name="connsiteX8" fmla="*/ 8976 w 10000"/>
              <a:gd name="connsiteY8" fmla="*/ 3011 h 10000"/>
              <a:gd name="connsiteX9" fmla="*/ 9233 w 10000"/>
              <a:gd name="connsiteY9" fmla="*/ 3520 h 10000"/>
              <a:gd name="connsiteX10" fmla="*/ 9561 w 10000"/>
              <a:gd name="connsiteY10" fmla="*/ 3930 h 10000"/>
              <a:gd name="connsiteX11" fmla="*/ 9743 w 10000"/>
              <a:gd name="connsiteY11" fmla="*/ 4286 h 10000"/>
              <a:gd name="connsiteX12" fmla="*/ 9890 w 10000"/>
              <a:gd name="connsiteY12" fmla="*/ 4542 h 10000"/>
              <a:gd name="connsiteX13" fmla="*/ 10000 w 10000"/>
              <a:gd name="connsiteY13" fmla="*/ 5307 h 10000"/>
              <a:gd name="connsiteX14" fmla="*/ 9781 w 10000"/>
              <a:gd name="connsiteY14" fmla="*/ 5765 h 10000"/>
              <a:gd name="connsiteX15" fmla="*/ 9670 w 10000"/>
              <a:gd name="connsiteY15" fmla="*/ 6022 h 10000"/>
              <a:gd name="connsiteX16" fmla="*/ 9670 w 10000"/>
              <a:gd name="connsiteY16" fmla="*/ 6480 h 10000"/>
              <a:gd name="connsiteX17" fmla="*/ 9233 w 10000"/>
              <a:gd name="connsiteY17" fmla="*/ 6428 h 10000"/>
              <a:gd name="connsiteX18" fmla="*/ 8902 w 10000"/>
              <a:gd name="connsiteY18" fmla="*/ 6684 h 10000"/>
              <a:gd name="connsiteX19" fmla="*/ 8756 w 10000"/>
              <a:gd name="connsiteY19" fmla="*/ 6888 h 10000"/>
              <a:gd name="connsiteX20" fmla="*/ 8572 w 10000"/>
              <a:gd name="connsiteY20" fmla="*/ 7296 h 10000"/>
              <a:gd name="connsiteX21" fmla="*/ 8609 w 10000"/>
              <a:gd name="connsiteY21" fmla="*/ 7656 h 10000"/>
              <a:gd name="connsiteX22" fmla="*/ 8793 w 10000"/>
              <a:gd name="connsiteY22" fmla="*/ 8266 h 10000"/>
              <a:gd name="connsiteX23" fmla="*/ 8537 w 10000"/>
              <a:gd name="connsiteY23" fmla="*/ 8625 h 10000"/>
              <a:gd name="connsiteX24" fmla="*/ 8537 w 10000"/>
              <a:gd name="connsiteY24" fmla="*/ 9033 h 10000"/>
              <a:gd name="connsiteX25" fmla="*/ 8537 w 10000"/>
              <a:gd name="connsiteY25" fmla="*/ 9287 h 10000"/>
              <a:gd name="connsiteX26" fmla="*/ 8170 w 10000"/>
              <a:gd name="connsiteY26" fmla="*/ 9439 h 10000"/>
              <a:gd name="connsiteX27" fmla="*/ 8097 w 10000"/>
              <a:gd name="connsiteY27" fmla="*/ 9694 h 10000"/>
              <a:gd name="connsiteX28" fmla="*/ 8134 w 10000"/>
              <a:gd name="connsiteY28" fmla="*/ 9950 h 10000"/>
              <a:gd name="connsiteX29" fmla="*/ 8023 w 10000"/>
              <a:gd name="connsiteY29" fmla="*/ 10000 h 10000"/>
              <a:gd name="connsiteX30" fmla="*/ 7766 w 10000"/>
              <a:gd name="connsiteY30" fmla="*/ 9643 h 10000"/>
              <a:gd name="connsiteX31" fmla="*/ 7546 w 10000"/>
              <a:gd name="connsiteY31" fmla="*/ 9542 h 10000"/>
              <a:gd name="connsiteX32" fmla="*/ 7400 w 10000"/>
              <a:gd name="connsiteY32" fmla="*/ 9439 h 10000"/>
              <a:gd name="connsiteX33" fmla="*/ 1502 w 10000"/>
              <a:gd name="connsiteY33" fmla="*/ 9643 h 10000"/>
              <a:gd name="connsiteX34" fmla="*/ 1428 w 10000"/>
              <a:gd name="connsiteY34" fmla="*/ 9185 h 10000"/>
              <a:gd name="connsiteX35" fmla="*/ 1428 w 10000"/>
              <a:gd name="connsiteY35" fmla="*/ 9085 h 10000"/>
              <a:gd name="connsiteX36" fmla="*/ 1428 w 10000"/>
              <a:gd name="connsiteY36" fmla="*/ 8726 h 10000"/>
              <a:gd name="connsiteX37" fmla="*/ 1466 w 10000"/>
              <a:gd name="connsiteY37" fmla="*/ 8421 h 10000"/>
              <a:gd name="connsiteX38" fmla="*/ 1392 w 10000"/>
              <a:gd name="connsiteY38" fmla="*/ 7961 h 10000"/>
              <a:gd name="connsiteX39" fmla="*/ 1246 w 10000"/>
              <a:gd name="connsiteY39" fmla="*/ 7397 h 10000"/>
              <a:gd name="connsiteX40" fmla="*/ 1173 w 10000"/>
              <a:gd name="connsiteY40" fmla="*/ 6991 h 10000"/>
              <a:gd name="connsiteX41" fmla="*/ 1356 w 10000"/>
              <a:gd name="connsiteY41" fmla="*/ 6684 h 10000"/>
              <a:gd name="connsiteX42" fmla="*/ 1062 w 10000"/>
              <a:gd name="connsiteY42" fmla="*/ 6226 h 10000"/>
              <a:gd name="connsiteX43" fmla="*/ 1062 w 10000"/>
              <a:gd name="connsiteY43" fmla="*/ 6124 h 10000"/>
              <a:gd name="connsiteX44" fmla="*/ 1100 w 10000"/>
              <a:gd name="connsiteY44" fmla="*/ 5614 h 10000"/>
              <a:gd name="connsiteX45" fmla="*/ 953 w 10000"/>
              <a:gd name="connsiteY45" fmla="*/ 5204 h 10000"/>
              <a:gd name="connsiteX46" fmla="*/ 696 w 10000"/>
              <a:gd name="connsiteY46" fmla="*/ 4388 h 10000"/>
              <a:gd name="connsiteX47" fmla="*/ 623 w 10000"/>
              <a:gd name="connsiteY47" fmla="*/ 3776 h 10000"/>
              <a:gd name="connsiteX48" fmla="*/ 623 w 10000"/>
              <a:gd name="connsiteY48" fmla="*/ 3367 h 10000"/>
              <a:gd name="connsiteX49" fmla="*/ 0 w 10000"/>
              <a:gd name="connsiteY49" fmla="*/ 2553 h 10000"/>
              <a:gd name="connsiteX50" fmla="*/ 477 w 10000"/>
              <a:gd name="connsiteY50" fmla="*/ 1990 h 10000"/>
              <a:gd name="connsiteX51" fmla="*/ 477 w 10000"/>
              <a:gd name="connsiteY51" fmla="*/ 1736 h 10000"/>
              <a:gd name="connsiteX52" fmla="*/ 477 w 10000"/>
              <a:gd name="connsiteY52" fmla="*/ 969 h 10000"/>
              <a:gd name="connsiteX53" fmla="*/ 147 w 10000"/>
              <a:gd name="connsiteY53" fmla="*/ 459 h 10000"/>
              <a:gd name="connsiteX54" fmla="*/ 257 w 10000"/>
              <a:gd name="connsiteY54" fmla="*/ 0 h 10000"/>
              <a:gd name="connsiteX0" fmla="*/ 257 w 10000"/>
              <a:gd name="connsiteY0" fmla="*/ 0 h 10000"/>
              <a:gd name="connsiteX1" fmla="*/ 8448 w 10000"/>
              <a:gd name="connsiteY1" fmla="*/ 90 h 10000"/>
              <a:gd name="connsiteX2" fmla="*/ 8353 w 10000"/>
              <a:gd name="connsiteY2" fmla="*/ 561 h 10000"/>
              <a:gd name="connsiteX3" fmla="*/ 8682 w 10000"/>
              <a:gd name="connsiteY3" fmla="*/ 969 h 10000"/>
              <a:gd name="connsiteX4" fmla="*/ 8631 w 10000"/>
              <a:gd name="connsiteY4" fmla="*/ 1264 h 10000"/>
              <a:gd name="connsiteX5" fmla="*/ 8426 w 10000"/>
              <a:gd name="connsiteY5" fmla="*/ 1938 h 10000"/>
              <a:gd name="connsiteX6" fmla="*/ 8537 w 10000"/>
              <a:gd name="connsiteY6" fmla="*/ 2194 h 10000"/>
              <a:gd name="connsiteX7" fmla="*/ 8572 w 10000"/>
              <a:gd name="connsiteY7" fmla="*/ 2502 h 10000"/>
              <a:gd name="connsiteX8" fmla="*/ 8976 w 10000"/>
              <a:gd name="connsiteY8" fmla="*/ 3011 h 10000"/>
              <a:gd name="connsiteX9" fmla="*/ 9458 w 10000"/>
              <a:gd name="connsiteY9" fmla="*/ 3329 h 10000"/>
              <a:gd name="connsiteX10" fmla="*/ 9561 w 10000"/>
              <a:gd name="connsiteY10" fmla="*/ 3930 h 10000"/>
              <a:gd name="connsiteX11" fmla="*/ 9743 w 10000"/>
              <a:gd name="connsiteY11" fmla="*/ 4286 h 10000"/>
              <a:gd name="connsiteX12" fmla="*/ 9890 w 10000"/>
              <a:gd name="connsiteY12" fmla="*/ 4542 h 10000"/>
              <a:gd name="connsiteX13" fmla="*/ 10000 w 10000"/>
              <a:gd name="connsiteY13" fmla="*/ 5307 h 10000"/>
              <a:gd name="connsiteX14" fmla="*/ 9781 w 10000"/>
              <a:gd name="connsiteY14" fmla="*/ 5765 h 10000"/>
              <a:gd name="connsiteX15" fmla="*/ 9670 w 10000"/>
              <a:gd name="connsiteY15" fmla="*/ 6022 h 10000"/>
              <a:gd name="connsiteX16" fmla="*/ 9670 w 10000"/>
              <a:gd name="connsiteY16" fmla="*/ 6480 h 10000"/>
              <a:gd name="connsiteX17" fmla="*/ 9233 w 10000"/>
              <a:gd name="connsiteY17" fmla="*/ 6428 h 10000"/>
              <a:gd name="connsiteX18" fmla="*/ 8902 w 10000"/>
              <a:gd name="connsiteY18" fmla="*/ 6684 h 10000"/>
              <a:gd name="connsiteX19" fmla="*/ 8756 w 10000"/>
              <a:gd name="connsiteY19" fmla="*/ 6888 h 10000"/>
              <a:gd name="connsiteX20" fmla="*/ 8572 w 10000"/>
              <a:gd name="connsiteY20" fmla="*/ 7296 h 10000"/>
              <a:gd name="connsiteX21" fmla="*/ 8609 w 10000"/>
              <a:gd name="connsiteY21" fmla="*/ 7656 h 10000"/>
              <a:gd name="connsiteX22" fmla="*/ 8793 w 10000"/>
              <a:gd name="connsiteY22" fmla="*/ 8266 h 10000"/>
              <a:gd name="connsiteX23" fmla="*/ 8537 w 10000"/>
              <a:gd name="connsiteY23" fmla="*/ 8625 h 10000"/>
              <a:gd name="connsiteX24" fmla="*/ 8537 w 10000"/>
              <a:gd name="connsiteY24" fmla="*/ 9033 h 10000"/>
              <a:gd name="connsiteX25" fmla="*/ 8537 w 10000"/>
              <a:gd name="connsiteY25" fmla="*/ 9287 h 10000"/>
              <a:gd name="connsiteX26" fmla="*/ 8170 w 10000"/>
              <a:gd name="connsiteY26" fmla="*/ 9439 h 10000"/>
              <a:gd name="connsiteX27" fmla="*/ 8097 w 10000"/>
              <a:gd name="connsiteY27" fmla="*/ 9694 h 10000"/>
              <a:gd name="connsiteX28" fmla="*/ 8134 w 10000"/>
              <a:gd name="connsiteY28" fmla="*/ 9950 h 10000"/>
              <a:gd name="connsiteX29" fmla="*/ 8023 w 10000"/>
              <a:gd name="connsiteY29" fmla="*/ 10000 h 10000"/>
              <a:gd name="connsiteX30" fmla="*/ 7766 w 10000"/>
              <a:gd name="connsiteY30" fmla="*/ 9643 h 10000"/>
              <a:gd name="connsiteX31" fmla="*/ 7546 w 10000"/>
              <a:gd name="connsiteY31" fmla="*/ 9542 h 10000"/>
              <a:gd name="connsiteX32" fmla="*/ 7400 w 10000"/>
              <a:gd name="connsiteY32" fmla="*/ 9439 h 10000"/>
              <a:gd name="connsiteX33" fmla="*/ 1502 w 10000"/>
              <a:gd name="connsiteY33" fmla="*/ 9643 h 10000"/>
              <a:gd name="connsiteX34" fmla="*/ 1428 w 10000"/>
              <a:gd name="connsiteY34" fmla="*/ 9185 h 10000"/>
              <a:gd name="connsiteX35" fmla="*/ 1428 w 10000"/>
              <a:gd name="connsiteY35" fmla="*/ 9085 h 10000"/>
              <a:gd name="connsiteX36" fmla="*/ 1428 w 10000"/>
              <a:gd name="connsiteY36" fmla="*/ 8726 h 10000"/>
              <a:gd name="connsiteX37" fmla="*/ 1466 w 10000"/>
              <a:gd name="connsiteY37" fmla="*/ 8421 h 10000"/>
              <a:gd name="connsiteX38" fmla="*/ 1392 w 10000"/>
              <a:gd name="connsiteY38" fmla="*/ 7961 h 10000"/>
              <a:gd name="connsiteX39" fmla="*/ 1246 w 10000"/>
              <a:gd name="connsiteY39" fmla="*/ 7397 h 10000"/>
              <a:gd name="connsiteX40" fmla="*/ 1173 w 10000"/>
              <a:gd name="connsiteY40" fmla="*/ 6991 h 10000"/>
              <a:gd name="connsiteX41" fmla="*/ 1356 w 10000"/>
              <a:gd name="connsiteY41" fmla="*/ 6684 h 10000"/>
              <a:gd name="connsiteX42" fmla="*/ 1062 w 10000"/>
              <a:gd name="connsiteY42" fmla="*/ 6226 h 10000"/>
              <a:gd name="connsiteX43" fmla="*/ 1062 w 10000"/>
              <a:gd name="connsiteY43" fmla="*/ 6124 h 10000"/>
              <a:gd name="connsiteX44" fmla="*/ 1100 w 10000"/>
              <a:gd name="connsiteY44" fmla="*/ 5614 h 10000"/>
              <a:gd name="connsiteX45" fmla="*/ 953 w 10000"/>
              <a:gd name="connsiteY45" fmla="*/ 5204 h 10000"/>
              <a:gd name="connsiteX46" fmla="*/ 696 w 10000"/>
              <a:gd name="connsiteY46" fmla="*/ 4388 h 10000"/>
              <a:gd name="connsiteX47" fmla="*/ 623 w 10000"/>
              <a:gd name="connsiteY47" fmla="*/ 3776 h 10000"/>
              <a:gd name="connsiteX48" fmla="*/ 623 w 10000"/>
              <a:gd name="connsiteY48" fmla="*/ 3367 h 10000"/>
              <a:gd name="connsiteX49" fmla="*/ 0 w 10000"/>
              <a:gd name="connsiteY49" fmla="*/ 2553 h 10000"/>
              <a:gd name="connsiteX50" fmla="*/ 477 w 10000"/>
              <a:gd name="connsiteY50" fmla="*/ 1990 h 10000"/>
              <a:gd name="connsiteX51" fmla="*/ 477 w 10000"/>
              <a:gd name="connsiteY51" fmla="*/ 1736 h 10000"/>
              <a:gd name="connsiteX52" fmla="*/ 477 w 10000"/>
              <a:gd name="connsiteY52" fmla="*/ 969 h 10000"/>
              <a:gd name="connsiteX53" fmla="*/ 147 w 10000"/>
              <a:gd name="connsiteY53" fmla="*/ 459 h 10000"/>
              <a:gd name="connsiteX54" fmla="*/ 257 w 10000"/>
              <a:gd name="connsiteY54" fmla="*/ 0 h 10000"/>
              <a:gd name="connsiteX0" fmla="*/ 257 w 10000"/>
              <a:gd name="connsiteY0" fmla="*/ 0 h 10000"/>
              <a:gd name="connsiteX1" fmla="*/ 8448 w 10000"/>
              <a:gd name="connsiteY1" fmla="*/ 90 h 10000"/>
              <a:gd name="connsiteX2" fmla="*/ 8353 w 10000"/>
              <a:gd name="connsiteY2" fmla="*/ 561 h 10000"/>
              <a:gd name="connsiteX3" fmla="*/ 8682 w 10000"/>
              <a:gd name="connsiteY3" fmla="*/ 969 h 10000"/>
              <a:gd name="connsiteX4" fmla="*/ 8631 w 10000"/>
              <a:gd name="connsiteY4" fmla="*/ 1264 h 10000"/>
              <a:gd name="connsiteX5" fmla="*/ 8426 w 10000"/>
              <a:gd name="connsiteY5" fmla="*/ 1938 h 10000"/>
              <a:gd name="connsiteX6" fmla="*/ 8537 w 10000"/>
              <a:gd name="connsiteY6" fmla="*/ 2194 h 10000"/>
              <a:gd name="connsiteX7" fmla="*/ 8572 w 10000"/>
              <a:gd name="connsiteY7" fmla="*/ 2502 h 10000"/>
              <a:gd name="connsiteX8" fmla="*/ 8976 w 10000"/>
              <a:gd name="connsiteY8" fmla="*/ 3011 h 10000"/>
              <a:gd name="connsiteX9" fmla="*/ 9458 w 10000"/>
              <a:gd name="connsiteY9" fmla="*/ 3329 h 10000"/>
              <a:gd name="connsiteX10" fmla="*/ 9561 w 10000"/>
              <a:gd name="connsiteY10" fmla="*/ 3930 h 10000"/>
              <a:gd name="connsiteX11" fmla="*/ 9743 w 10000"/>
              <a:gd name="connsiteY11" fmla="*/ 4286 h 10000"/>
              <a:gd name="connsiteX12" fmla="*/ 9890 w 10000"/>
              <a:gd name="connsiteY12" fmla="*/ 4542 h 10000"/>
              <a:gd name="connsiteX13" fmla="*/ 10000 w 10000"/>
              <a:gd name="connsiteY13" fmla="*/ 5307 h 10000"/>
              <a:gd name="connsiteX14" fmla="*/ 9781 w 10000"/>
              <a:gd name="connsiteY14" fmla="*/ 5765 h 10000"/>
              <a:gd name="connsiteX15" fmla="*/ 9670 w 10000"/>
              <a:gd name="connsiteY15" fmla="*/ 6022 h 10000"/>
              <a:gd name="connsiteX16" fmla="*/ 9670 w 10000"/>
              <a:gd name="connsiteY16" fmla="*/ 6480 h 10000"/>
              <a:gd name="connsiteX17" fmla="*/ 9233 w 10000"/>
              <a:gd name="connsiteY17" fmla="*/ 6428 h 10000"/>
              <a:gd name="connsiteX18" fmla="*/ 8902 w 10000"/>
              <a:gd name="connsiteY18" fmla="*/ 6684 h 10000"/>
              <a:gd name="connsiteX19" fmla="*/ 8756 w 10000"/>
              <a:gd name="connsiteY19" fmla="*/ 6888 h 10000"/>
              <a:gd name="connsiteX20" fmla="*/ 8572 w 10000"/>
              <a:gd name="connsiteY20" fmla="*/ 7296 h 10000"/>
              <a:gd name="connsiteX21" fmla="*/ 8609 w 10000"/>
              <a:gd name="connsiteY21" fmla="*/ 7656 h 10000"/>
              <a:gd name="connsiteX22" fmla="*/ 8793 w 10000"/>
              <a:gd name="connsiteY22" fmla="*/ 8266 h 10000"/>
              <a:gd name="connsiteX23" fmla="*/ 8537 w 10000"/>
              <a:gd name="connsiteY23" fmla="*/ 8625 h 10000"/>
              <a:gd name="connsiteX24" fmla="*/ 8537 w 10000"/>
              <a:gd name="connsiteY24" fmla="*/ 9033 h 10000"/>
              <a:gd name="connsiteX25" fmla="*/ 8170 w 10000"/>
              <a:gd name="connsiteY25" fmla="*/ 9439 h 10000"/>
              <a:gd name="connsiteX26" fmla="*/ 8097 w 10000"/>
              <a:gd name="connsiteY26" fmla="*/ 9694 h 10000"/>
              <a:gd name="connsiteX27" fmla="*/ 8134 w 10000"/>
              <a:gd name="connsiteY27" fmla="*/ 9950 h 10000"/>
              <a:gd name="connsiteX28" fmla="*/ 8023 w 10000"/>
              <a:gd name="connsiteY28" fmla="*/ 10000 h 10000"/>
              <a:gd name="connsiteX29" fmla="*/ 7766 w 10000"/>
              <a:gd name="connsiteY29" fmla="*/ 9643 h 10000"/>
              <a:gd name="connsiteX30" fmla="*/ 7546 w 10000"/>
              <a:gd name="connsiteY30" fmla="*/ 9542 h 10000"/>
              <a:gd name="connsiteX31" fmla="*/ 7400 w 10000"/>
              <a:gd name="connsiteY31" fmla="*/ 9439 h 10000"/>
              <a:gd name="connsiteX32" fmla="*/ 1502 w 10000"/>
              <a:gd name="connsiteY32" fmla="*/ 9643 h 10000"/>
              <a:gd name="connsiteX33" fmla="*/ 1428 w 10000"/>
              <a:gd name="connsiteY33" fmla="*/ 9185 h 10000"/>
              <a:gd name="connsiteX34" fmla="*/ 1428 w 10000"/>
              <a:gd name="connsiteY34" fmla="*/ 9085 h 10000"/>
              <a:gd name="connsiteX35" fmla="*/ 1428 w 10000"/>
              <a:gd name="connsiteY35" fmla="*/ 8726 h 10000"/>
              <a:gd name="connsiteX36" fmla="*/ 1466 w 10000"/>
              <a:gd name="connsiteY36" fmla="*/ 8421 h 10000"/>
              <a:gd name="connsiteX37" fmla="*/ 1392 w 10000"/>
              <a:gd name="connsiteY37" fmla="*/ 7961 h 10000"/>
              <a:gd name="connsiteX38" fmla="*/ 1246 w 10000"/>
              <a:gd name="connsiteY38" fmla="*/ 7397 h 10000"/>
              <a:gd name="connsiteX39" fmla="*/ 1173 w 10000"/>
              <a:gd name="connsiteY39" fmla="*/ 6991 h 10000"/>
              <a:gd name="connsiteX40" fmla="*/ 1356 w 10000"/>
              <a:gd name="connsiteY40" fmla="*/ 6684 h 10000"/>
              <a:gd name="connsiteX41" fmla="*/ 1062 w 10000"/>
              <a:gd name="connsiteY41" fmla="*/ 6226 h 10000"/>
              <a:gd name="connsiteX42" fmla="*/ 1062 w 10000"/>
              <a:gd name="connsiteY42" fmla="*/ 6124 h 10000"/>
              <a:gd name="connsiteX43" fmla="*/ 1100 w 10000"/>
              <a:gd name="connsiteY43" fmla="*/ 5614 h 10000"/>
              <a:gd name="connsiteX44" fmla="*/ 953 w 10000"/>
              <a:gd name="connsiteY44" fmla="*/ 5204 h 10000"/>
              <a:gd name="connsiteX45" fmla="*/ 696 w 10000"/>
              <a:gd name="connsiteY45" fmla="*/ 4388 h 10000"/>
              <a:gd name="connsiteX46" fmla="*/ 623 w 10000"/>
              <a:gd name="connsiteY46" fmla="*/ 3776 h 10000"/>
              <a:gd name="connsiteX47" fmla="*/ 623 w 10000"/>
              <a:gd name="connsiteY47" fmla="*/ 3367 h 10000"/>
              <a:gd name="connsiteX48" fmla="*/ 0 w 10000"/>
              <a:gd name="connsiteY48" fmla="*/ 2553 h 10000"/>
              <a:gd name="connsiteX49" fmla="*/ 477 w 10000"/>
              <a:gd name="connsiteY49" fmla="*/ 1990 h 10000"/>
              <a:gd name="connsiteX50" fmla="*/ 477 w 10000"/>
              <a:gd name="connsiteY50" fmla="*/ 1736 h 10000"/>
              <a:gd name="connsiteX51" fmla="*/ 477 w 10000"/>
              <a:gd name="connsiteY51" fmla="*/ 969 h 10000"/>
              <a:gd name="connsiteX52" fmla="*/ 147 w 10000"/>
              <a:gd name="connsiteY52" fmla="*/ 459 h 10000"/>
              <a:gd name="connsiteX53" fmla="*/ 257 w 10000"/>
              <a:gd name="connsiteY53" fmla="*/ 0 h 10000"/>
              <a:gd name="connsiteX0" fmla="*/ 257 w 10000"/>
              <a:gd name="connsiteY0" fmla="*/ 0 h 10000"/>
              <a:gd name="connsiteX1" fmla="*/ 8448 w 10000"/>
              <a:gd name="connsiteY1" fmla="*/ 90 h 10000"/>
              <a:gd name="connsiteX2" fmla="*/ 8353 w 10000"/>
              <a:gd name="connsiteY2" fmla="*/ 561 h 10000"/>
              <a:gd name="connsiteX3" fmla="*/ 8682 w 10000"/>
              <a:gd name="connsiteY3" fmla="*/ 969 h 10000"/>
              <a:gd name="connsiteX4" fmla="*/ 8631 w 10000"/>
              <a:gd name="connsiteY4" fmla="*/ 1264 h 10000"/>
              <a:gd name="connsiteX5" fmla="*/ 8426 w 10000"/>
              <a:gd name="connsiteY5" fmla="*/ 1938 h 10000"/>
              <a:gd name="connsiteX6" fmla="*/ 8537 w 10000"/>
              <a:gd name="connsiteY6" fmla="*/ 2194 h 10000"/>
              <a:gd name="connsiteX7" fmla="*/ 8572 w 10000"/>
              <a:gd name="connsiteY7" fmla="*/ 2502 h 10000"/>
              <a:gd name="connsiteX8" fmla="*/ 8976 w 10000"/>
              <a:gd name="connsiteY8" fmla="*/ 3011 h 10000"/>
              <a:gd name="connsiteX9" fmla="*/ 9458 w 10000"/>
              <a:gd name="connsiteY9" fmla="*/ 3329 h 10000"/>
              <a:gd name="connsiteX10" fmla="*/ 9561 w 10000"/>
              <a:gd name="connsiteY10" fmla="*/ 3930 h 10000"/>
              <a:gd name="connsiteX11" fmla="*/ 9743 w 10000"/>
              <a:gd name="connsiteY11" fmla="*/ 4286 h 10000"/>
              <a:gd name="connsiteX12" fmla="*/ 9890 w 10000"/>
              <a:gd name="connsiteY12" fmla="*/ 4542 h 10000"/>
              <a:gd name="connsiteX13" fmla="*/ 10000 w 10000"/>
              <a:gd name="connsiteY13" fmla="*/ 5307 h 10000"/>
              <a:gd name="connsiteX14" fmla="*/ 9781 w 10000"/>
              <a:gd name="connsiteY14" fmla="*/ 5765 h 10000"/>
              <a:gd name="connsiteX15" fmla="*/ 9670 w 10000"/>
              <a:gd name="connsiteY15" fmla="*/ 6022 h 10000"/>
              <a:gd name="connsiteX16" fmla="*/ 9670 w 10000"/>
              <a:gd name="connsiteY16" fmla="*/ 6480 h 10000"/>
              <a:gd name="connsiteX17" fmla="*/ 9233 w 10000"/>
              <a:gd name="connsiteY17" fmla="*/ 6428 h 10000"/>
              <a:gd name="connsiteX18" fmla="*/ 8902 w 10000"/>
              <a:gd name="connsiteY18" fmla="*/ 6684 h 10000"/>
              <a:gd name="connsiteX19" fmla="*/ 8756 w 10000"/>
              <a:gd name="connsiteY19" fmla="*/ 6888 h 10000"/>
              <a:gd name="connsiteX20" fmla="*/ 8572 w 10000"/>
              <a:gd name="connsiteY20" fmla="*/ 7296 h 10000"/>
              <a:gd name="connsiteX21" fmla="*/ 8609 w 10000"/>
              <a:gd name="connsiteY21" fmla="*/ 7656 h 10000"/>
              <a:gd name="connsiteX22" fmla="*/ 8793 w 10000"/>
              <a:gd name="connsiteY22" fmla="*/ 8266 h 10000"/>
              <a:gd name="connsiteX23" fmla="*/ 8537 w 10000"/>
              <a:gd name="connsiteY23" fmla="*/ 8625 h 10000"/>
              <a:gd name="connsiteX24" fmla="*/ 8170 w 10000"/>
              <a:gd name="connsiteY24" fmla="*/ 9439 h 10000"/>
              <a:gd name="connsiteX25" fmla="*/ 8097 w 10000"/>
              <a:gd name="connsiteY25" fmla="*/ 9694 h 10000"/>
              <a:gd name="connsiteX26" fmla="*/ 8134 w 10000"/>
              <a:gd name="connsiteY26" fmla="*/ 9950 h 10000"/>
              <a:gd name="connsiteX27" fmla="*/ 8023 w 10000"/>
              <a:gd name="connsiteY27" fmla="*/ 10000 h 10000"/>
              <a:gd name="connsiteX28" fmla="*/ 7766 w 10000"/>
              <a:gd name="connsiteY28" fmla="*/ 9643 h 10000"/>
              <a:gd name="connsiteX29" fmla="*/ 7546 w 10000"/>
              <a:gd name="connsiteY29" fmla="*/ 9542 h 10000"/>
              <a:gd name="connsiteX30" fmla="*/ 7400 w 10000"/>
              <a:gd name="connsiteY30" fmla="*/ 9439 h 10000"/>
              <a:gd name="connsiteX31" fmla="*/ 1502 w 10000"/>
              <a:gd name="connsiteY31" fmla="*/ 9643 h 10000"/>
              <a:gd name="connsiteX32" fmla="*/ 1428 w 10000"/>
              <a:gd name="connsiteY32" fmla="*/ 9185 h 10000"/>
              <a:gd name="connsiteX33" fmla="*/ 1428 w 10000"/>
              <a:gd name="connsiteY33" fmla="*/ 9085 h 10000"/>
              <a:gd name="connsiteX34" fmla="*/ 1428 w 10000"/>
              <a:gd name="connsiteY34" fmla="*/ 8726 h 10000"/>
              <a:gd name="connsiteX35" fmla="*/ 1466 w 10000"/>
              <a:gd name="connsiteY35" fmla="*/ 8421 h 10000"/>
              <a:gd name="connsiteX36" fmla="*/ 1392 w 10000"/>
              <a:gd name="connsiteY36" fmla="*/ 7961 h 10000"/>
              <a:gd name="connsiteX37" fmla="*/ 1246 w 10000"/>
              <a:gd name="connsiteY37" fmla="*/ 7397 h 10000"/>
              <a:gd name="connsiteX38" fmla="*/ 1173 w 10000"/>
              <a:gd name="connsiteY38" fmla="*/ 6991 h 10000"/>
              <a:gd name="connsiteX39" fmla="*/ 1356 w 10000"/>
              <a:gd name="connsiteY39" fmla="*/ 6684 h 10000"/>
              <a:gd name="connsiteX40" fmla="*/ 1062 w 10000"/>
              <a:gd name="connsiteY40" fmla="*/ 6226 h 10000"/>
              <a:gd name="connsiteX41" fmla="*/ 1062 w 10000"/>
              <a:gd name="connsiteY41" fmla="*/ 6124 h 10000"/>
              <a:gd name="connsiteX42" fmla="*/ 1100 w 10000"/>
              <a:gd name="connsiteY42" fmla="*/ 5614 h 10000"/>
              <a:gd name="connsiteX43" fmla="*/ 953 w 10000"/>
              <a:gd name="connsiteY43" fmla="*/ 5204 h 10000"/>
              <a:gd name="connsiteX44" fmla="*/ 696 w 10000"/>
              <a:gd name="connsiteY44" fmla="*/ 4388 h 10000"/>
              <a:gd name="connsiteX45" fmla="*/ 623 w 10000"/>
              <a:gd name="connsiteY45" fmla="*/ 3776 h 10000"/>
              <a:gd name="connsiteX46" fmla="*/ 623 w 10000"/>
              <a:gd name="connsiteY46" fmla="*/ 3367 h 10000"/>
              <a:gd name="connsiteX47" fmla="*/ 0 w 10000"/>
              <a:gd name="connsiteY47" fmla="*/ 2553 h 10000"/>
              <a:gd name="connsiteX48" fmla="*/ 477 w 10000"/>
              <a:gd name="connsiteY48" fmla="*/ 1990 h 10000"/>
              <a:gd name="connsiteX49" fmla="*/ 477 w 10000"/>
              <a:gd name="connsiteY49" fmla="*/ 1736 h 10000"/>
              <a:gd name="connsiteX50" fmla="*/ 477 w 10000"/>
              <a:gd name="connsiteY50" fmla="*/ 969 h 10000"/>
              <a:gd name="connsiteX51" fmla="*/ 147 w 10000"/>
              <a:gd name="connsiteY51" fmla="*/ 459 h 10000"/>
              <a:gd name="connsiteX52" fmla="*/ 257 w 10000"/>
              <a:gd name="connsiteY52" fmla="*/ 0 h 10000"/>
              <a:gd name="connsiteX0" fmla="*/ 257 w 10000"/>
              <a:gd name="connsiteY0" fmla="*/ 0 h 9950"/>
              <a:gd name="connsiteX1" fmla="*/ 8448 w 10000"/>
              <a:gd name="connsiteY1" fmla="*/ 90 h 9950"/>
              <a:gd name="connsiteX2" fmla="*/ 8353 w 10000"/>
              <a:gd name="connsiteY2" fmla="*/ 561 h 9950"/>
              <a:gd name="connsiteX3" fmla="*/ 8682 w 10000"/>
              <a:gd name="connsiteY3" fmla="*/ 969 h 9950"/>
              <a:gd name="connsiteX4" fmla="*/ 8631 w 10000"/>
              <a:gd name="connsiteY4" fmla="*/ 1264 h 9950"/>
              <a:gd name="connsiteX5" fmla="*/ 8426 w 10000"/>
              <a:gd name="connsiteY5" fmla="*/ 1938 h 9950"/>
              <a:gd name="connsiteX6" fmla="*/ 8537 w 10000"/>
              <a:gd name="connsiteY6" fmla="*/ 2194 h 9950"/>
              <a:gd name="connsiteX7" fmla="*/ 8572 w 10000"/>
              <a:gd name="connsiteY7" fmla="*/ 2502 h 9950"/>
              <a:gd name="connsiteX8" fmla="*/ 8976 w 10000"/>
              <a:gd name="connsiteY8" fmla="*/ 3011 h 9950"/>
              <a:gd name="connsiteX9" fmla="*/ 9458 w 10000"/>
              <a:gd name="connsiteY9" fmla="*/ 3329 h 9950"/>
              <a:gd name="connsiteX10" fmla="*/ 9561 w 10000"/>
              <a:gd name="connsiteY10" fmla="*/ 3930 h 9950"/>
              <a:gd name="connsiteX11" fmla="*/ 9743 w 10000"/>
              <a:gd name="connsiteY11" fmla="*/ 4286 h 9950"/>
              <a:gd name="connsiteX12" fmla="*/ 9890 w 10000"/>
              <a:gd name="connsiteY12" fmla="*/ 4542 h 9950"/>
              <a:gd name="connsiteX13" fmla="*/ 10000 w 10000"/>
              <a:gd name="connsiteY13" fmla="*/ 5307 h 9950"/>
              <a:gd name="connsiteX14" fmla="*/ 9781 w 10000"/>
              <a:gd name="connsiteY14" fmla="*/ 5765 h 9950"/>
              <a:gd name="connsiteX15" fmla="*/ 9670 w 10000"/>
              <a:gd name="connsiteY15" fmla="*/ 6022 h 9950"/>
              <a:gd name="connsiteX16" fmla="*/ 9670 w 10000"/>
              <a:gd name="connsiteY16" fmla="*/ 6480 h 9950"/>
              <a:gd name="connsiteX17" fmla="*/ 9233 w 10000"/>
              <a:gd name="connsiteY17" fmla="*/ 6428 h 9950"/>
              <a:gd name="connsiteX18" fmla="*/ 8902 w 10000"/>
              <a:gd name="connsiteY18" fmla="*/ 6684 h 9950"/>
              <a:gd name="connsiteX19" fmla="*/ 8756 w 10000"/>
              <a:gd name="connsiteY19" fmla="*/ 6888 h 9950"/>
              <a:gd name="connsiteX20" fmla="*/ 8572 w 10000"/>
              <a:gd name="connsiteY20" fmla="*/ 7296 h 9950"/>
              <a:gd name="connsiteX21" fmla="*/ 8609 w 10000"/>
              <a:gd name="connsiteY21" fmla="*/ 7656 h 9950"/>
              <a:gd name="connsiteX22" fmla="*/ 8793 w 10000"/>
              <a:gd name="connsiteY22" fmla="*/ 8266 h 9950"/>
              <a:gd name="connsiteX23" fmla="*/ 8537 w 10000"/>
              <a:gd name="connsiteY23" fmla="*/ 8625 h 9950"/>
              <a:gd name="connsiteX24" fmla="*/ 8170 w 10000"/>
              <a:gd name="connsiteY24" fmla="*/ 9439 h 9950"/>
              <a:gd name="connsiteX25" fmla="*/ 8097 w 10000"/>
              <a:gd name="connsiteY25" fmla="*/ 9694 h 9950"/>
              <a:gd name="connsiteX26" fmla="*/ 8134 w 10000"/>
              <a:gd name="connsiteY26" fmla="*/ 9950 h 9950"/>
              <a:gd name="connsiteX27" fmla="*/ 7766 w 10000"/>
              <a:gd name="connsiteY27" fmla="*/ 9643 h 9950"/>
              <a:gd name="connsiteX28" fmla="*/ 7546 w 10000"/>
              <a:gd name="connsiteY28" fmla="*/ 9542 h 9950"/>
              <a:gd name="connsiteX29" fmla="*/ 7400 w 10000"/>
              <a:gd name="connsiteY29" fmla="*/ 9439 h 9950"/>
              <a:gd name="connsiteX30" fmla="*/ 1502 w 10000"/>
              <a:gd name="connsiteY30" fmla="*/ 9643 h 9950"/>
              <a:gd name="connsiteX31" fmla="*/ 1428 w 10000"/>
              <a:gd name="connsiteY31" fmla="*/ 9185 h 9950"/>
              <a:gd name="connsiteX32" fmla="*/ 1428 w 10000"/>
              <a:gd name="connsiteY32" fmla="*/ 9085 h 9950"/>
              <a:gd name="connsiteX33" fmla="*/ 1428 w 10000"/>
              <a:gd name="connsiteY33" fmla="*/ 8726 h 9950"/>
              <a:gd name="connsiteX34" fmla="*/ 1466 w 10000"/>
              <a:gd name="connsiteY34" fmla="*/ 8421 h 9950"/>
              <a:gd name="connsiteX35" fmla="*/ 1392 w 10000"/>
              <a:gd name="connsiteY35" fmla="*/ 7961 h 9950"/>
              <a:gd name="connsiteX36" fmla="*/ 1246 w 10000"/>
              <a:gd name="connsiteY36" fmla="*/ 7397 h 9950"/>
              <a:gd name="connsiteX37" fmla="*/ 1173 w 10000"/>
              <a:gd name="connsiteY37" fmla="*/ 6991 h 9950"/>
              <a:gd name="connsiteX38" fmla="*/ 1356 w 10000"/>
              <a:gd name="connsiteY38" fmla="*/ 6684 h 9950"/>
              <a:gd name="connsiteX39" fmla="*/ 1062 w 10000"/>
              <a:gd name="connsiteY39" fmla="*/ 6226 h 9950"/>
              <a:gd name="connsiteX40" fmla="*/ 1062 w 10000"/>
              <a:gd name="connsiteY40" fmla="*/ 6124 h 9950"/>
              <a:gd name="connsiteX41" fmla="*/ 1100 w 10000"/>
              <a:gd name="connsiteY41" fmla="*/ 5614 h 9950"/>
              <a:gd name="connsiteX42" fmla="*/ 953 w 10000"/>
              <a:gd name="connsiteY42" fmla="*/ 5204 h 9950"/>
              <a:gd name="connsiteX43" fmla="*/ 696 w 10000"/>
              <a:gd name="connsiteY43" fmla="*/ 4388 h 9950"/>
              <a:gd name="connsiteX44" fmla="*/ 623 w 10000"/>
              <a:gd name="connsiteY44" fmla="*/ 3776 h 9950"/>
              <a:gd name="connsiteX45" fmla="*/ 623 w 10000"/>
              <a:gd name="connsiteY45" fmla="*/ 3367 h 9950"/>
              <a:gd name="connsiteX46" fmla="*/ 0 w 10000"/>
              <a:gd name="connsiteY46" fmla="*/ 2553 h 9950"/>
              <a:gd name="connsiteX47" fmla="*/ 477 w 10000"/>
              <a:gd name="connsiteY47" fmla="*/ 1990 h 9950"/>
              <a:gd name="connsiteX48" fmla="*/ 477 w 10000"/>
              <a:gd name="connsiteY48" fmla="*/ 1736 h 9950"/>
              <a:gd name="connsiteX49" fmla="*/ 477 w 10000"/>
              <a:gd name="connsiteY49" fmla="*/ 969 h 9950"/>
              <a:gd name="connsiteX50" fmla="*/ 147 w 10000"/>
              <a:gd name="connsiteY50" fmla="*/ 459 h 9950"/>
              <a:gd name="connsiteX51" fmla="*/ 257 w 10000"/>
              <a:gd name="connsiteY51" fmla="*/ 0 h 9950"/>
              <a:gd name="connsiteX0" fmla="*/ 257 w 10000"/>
              <a:gd name="connsiteY0" fmla="*/ 0 h 9753"/>
              <a:gd name="connsiteX1" fmla="*/ 8448 w 10000"/>
              <a:gd name="connsiteY1" fmla="*/ 90 h 9753"/>
              <a:gd name="connsiteX2" fmla="*/ 8353 w 10000"/>
              <a:gd name="connsiteY2" fmla="*/ 564 h 9753"/>
              <a:gd name="connsiteX3" fmla="*/ 8682 w 10000"/>
              <a:gd name="connsiteY3" fmla="*/ 974 h 9753"/>
              <a:gd name="connsiteX4" fmla="*/ 8631 w 10000"/>
              <a:gd name="connsiteY4" fmla="*/ 1270 h 9753"/>
              <a:gd name="connsiteX5" fmla="*/ 8426 w 10000"/>
              <a:gd name="connsiteY5" fmla="*/ 1948 h 9753"/>
              <a:gd name="connsiteX6" fmla="*/ 8537 w 10000"/>
              <a:gd name="connsiteY6" fmla="*/ 2205 h 9753"/>
              <a:gd name="connsiteX7" fmla="*/ 8572 w 10000"/>
              <a:gd name="connsiteY7" fmla="*/ 2515 h 9753"/>
              <a:gd name="connsiteX8" fmla="*/ 8976 w 10000"/>
              <a:gd name="connsiteY8" fmla="*/ 3026 h 9753"/>
              <a:gd name="connsiteX9" fmla="*/ 9458 w 10000"/>
              <a:gd name="connsiteY9" fmla="*/ 3346 h 9753"/>
              <a:gd name="connsiteX10" fmla="*/ 9561 w 10000"/>
              <a:gd name="connsiteY10" fmla="*/ 3950 h 9753"/>
              <a:gd name="connsiteX11" fmla="*/ 9743 w 10000"/>
              <a:gd name="connsiteY11" fmla="*/ 4308 h 9753"/>
              <a:gd name="connsiteX12" fmla="*/ 9890 w 10000"/>
              <a:gd name="connsiteY12" fmla="*/ 4565 h 9753"/>
              <a:gd name="connsiteX13" fmla="*/ 10000 w 10000"/>
              <a:gd name="connsiteY13" fmla="*/ 5334 h 9753"/>
              <a:gd name="connsiteX14" fmla="*/ 9781 w 10000"/>
              <a:gd name="connsiteY14" fmla="*/ 5794 h 9753"/>
              <a:gd name="connsiteX15" fmla="*/ 9670 w 10000"/>
              <a:gd name="connsiteY15" fmla="*/ 6052 h 9753"/>
              <a:gd name="connsiteX16" fmla="*/ 9670 w 10000"/>
              <a:gd name="connsiteY16" fmla="*/ 6513 h 9753"/>
              <a:gd name="connsiteX17" fmla="*/ 9233 w 10000"/>
              <a:gd name="connsiteY17" fmla="*/ 6460 h 9753"/>
              <a:gd name="connsiteX18" fmla="*/ 8902 w 10000"/>
              <a:gd name="connsiteY18" fmla="*/ 6718 h 9753"/>
              <a:gd name="connsiteX19" fmla="*/ 8756 w 10000"/>
              <a:gd name="connsiteY19" fmla="*/ 6923 h 9753"/>
              <a:gd name="connsiteX20" fmla="*/ 8572 w 10000"/>
              <a:gd name="connsiteY20" fmla="*/ 7333 h 9753"/>
              <a:gd name="connsiteX21" fmla="*/ 8609 w 10000"/>
              <a:gd name="connsiteY21" fmla="*/ 7694 h 9753"/>
              <a:gd name="connsiteX22" fmla="*/ 8793 w 10000"/>
              <a:gd name="connsiteY22" fmla="*/ 8308 h 9753"/>
              <a:gd name="connsiteX23" fmla="*/ 8537 w 10000"/>
              <a:gd name="connsiteY23" fmla="*/ 8668 h 9753"/>
              <a:gd name="connsiteX24" fmla="*/ 8170 w 10000"/>
              <a:gd name="connsiteY24" fmla="*/ 9486 h 9753"/>
              <a:gd name="connsiteX25" fmla="*/ 8097 w 10000"/>
              <a:gd name="connsiteY25" fmla="*/ 9743 h 9753"/>
              <a:gd name="connsiteX26" fmla="*/ 7766 w 10000"/>
              <a:gd name="connsiteY26" fmla="*/ 9691 h 9753"/>
              <a:gd name="connsiteX27" fmla="*/ 7546 w 10000"/>
              <a:gd name="connsiteY27" fmla="*/ 9590 h 9753"/>
              <a:gd name="connsiteX28" fmla="*/ 7400 w 10000"/>
              <a:gd name="connsiteY28" fmla="*/ 9486 h 9753"/>
              <a:gd name="connsiteX29" fmla="*/ 1502 w 10000"/>
              <a:gd name="connsiteY29" fmla="*/ 9691 h 9753"/>
              <a:gd name="connsiteX30" fmla="*/ 1428 w 10000"/>
              <a:gd name="connsiteY30" fmla="*/ 9231 h 9753"/>
              <a:gd name="connsiteX31" fmla="*/ 1428 w 10000"/>
              <a:gd name="connsiteY31" fmla="*/ 9131 h 9753"/>
              <a:gd name="connsiteX32" fmla="*/ 1428 w 10000"/>
              <a:gd name="connsiteY32" fmla="*/ 8770 h 9753"/>
              <a:gd name="connsiteX33" fmla="*/ 1466 w 10000"/>
              <a:gd name="connsiteY33" fmla="*/ 8463 h 9753"/>
              <a:gd name="connsiteX34" fmla="*/ 1392 w 10000"/>
              <a:gd name="connsiteY34" fmla="*/ 8001 h 9753"/>
              <a:gd name="connsiteX35" fmla="*/ 1246 w 10000"/>
              <a:gd name="connsiteY35" fmla="*/ 7434 h 9753"/>
              <a:gd name="connsiteX36" fmla="*/ 1173 w 10000"/>
              <a:gd name="connsiteY36" fmla="*/ 7026 h 9753"/>
              <a:gd name="connsiteX37" fmla="*/ 1356 w 10000"/>
              <a:gd name="connsiteY37" fmla="*/ 6718 h 9753"/>
              <a:gd name="connsiteX38" fmla="*/ 1062 w 10000"/>
              <a:gd name="connsiteY38" fmla="*/ 6257 h 9753"/>
              <a:gd name="connsiteX39" fmla="*/ 1062 w 10000"/>
              <a:gd name="connsiteY39" fmla="*/ 6155 h 9753"/>
              <a:gd name="connsiteX40" fmla="*/ 1100 w 10000"/>
              <a:gd name="connsiteY40" fmla="*/ 5642 h 9753"/>
              <a:gd name="connsiteX41" fmla="*/ 953 w 10000"/>
              <a:gd name="connsiteY41" fmla="*/ 5230 h 9753"/>
              <a:gd name="connsiteX42" fmla="*/ 696 w 10000"/>
              <a:gd name="connsiteY42" fmla="*/ 4410 h 9753"/>
              <a:gd name="connsiteX43" fmla="*/ 623 w 10000"/>
              <a:gd name="connsiteY43" fmla="*/ 3795 h 9753"/>
              <a:gd name="connsiteX44" fmla="*/ 623 w 10000"/>
              <a:gd name="connsiteY44" fmla="*/ 3384 h 9753"/>
              <a:gd name="connsiteX45" fmla="*/ 0 w 10000"/>
              <a:gd name="connsiteY45" fmla="*/ 2566 h 9753"/>
              <a:gd name="connsiteX46" fmla="*/ 477 w 10000"/>
              <a:gd name="connsiteY46" fmla="*/ 2000 h 9753"/>
              <a:gd name="connsiteX47" fmla="*/ 477 w 10000"/>
              <a:gd name="connsiteY47" fmla="*/ 1745 h 9753"/>
              <a:gd name="connsiteX48" fmla="*/ 477 w 10000"/>
              <a:gd name="connsiteY48" fmla="*/ 974 h 9753"/>
              <a:gd name="connsiteX49" fmla="*/ 147 w 10000"/>
              <a:gd name="connsiteY49" fmla="*/ 461 h 9753"/>
              <a:gd name="connsiteX50" fmla="*/ 257 w 10000"/>
              <a:gd name="connsiteY50" fmla="*/ 0 h 9753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428 w 10000"/>
              <a:gd name="connsiteY30" fmla="*/ 9362 h 10000"/>
              <a:gd name="connsiteX31" fmla="*/ 1428 w 10000"/>
              <a:gd name="connsiteY31" fmla="*/ 8992 h 10000"/>
              <a:gd name="connsiteX32" fmla="*/ 1466 w 10000"/>
              <a:gd name="connsiteY32" fmla="*/ 8677 h 10000"/>
              <a:gd name="connsiteX33" fmla="*/ 1392 w 10000"/>
              <a:gd name="connsiteY33" fmla="*/ 8204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356 w 10000"/>
              <a:gd name="connsiteY36" fmla="*/ 68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428 w 10000"/>
              <a:gd name="connsiteY31" fmla="*/ 8992 h 10000"/>
              <a:gd name="connsiteX32" fmla="*/ 1466 w 10000"/>
              <a:gd name="connsiteY32" fmla="*/ 8677 h 10000"/>
              <a:gd name="connsiteX33" fmla="*/ 1392 w 10000"/>
              <a:gd name="connsiteY33" fmla="*/ 8204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356 w 10000"/>
              <a:gd name="connsiteY36" fmla="*/ 68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466 w 10000"/>
              <a:gd name="connsiteY32" fmla="*/ 8677 h 10000"/>
              <a:gd name="connsiteX33" fmla="*/ 1392 w 10000"/>
              <a:gd name="connsiteY33" fmla="*/ 8204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356 w 10000"/>
              <a:gd name="connsiteY36" fmla="*/ 68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145 w 10000"/>
              <a:gd name="connsiteY32" fmla="*/ 8453 h 10000"/>
              <a:gd name="connsiteX33" fmla="*/ 1392 w 10000"/>
              <a:gd name="connsiteY33" fmla="*/ 8204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356 w 10000"/>
              <a:gd name="connsiteY36" fmla="*/ 68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145 w 10000"/>
              <a:gd name="connsiteY32" fmla="*/ 8453 h 10000"/>
              <a:gd name="connsiteX33" fmla="*/ 1167 w 10000"/>
              <a:gd name="connsiteY33" fmla="*/ 8079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356 w 10000"/>
              <a:gd name="connsiteY36" fmla="*/ 68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145 w 10000"/>
              <a:gd name="connsiteY32" fmla="*/ 8453 h 10000"/>
              <a:gd name="connsiteX33" fmla="*/ 1167 w 10000"/>
              <a:gd name="connsiteY33" fmla="*/ 8079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051 w 10000"/>
              <a:gd name="connsiteY36" fmla="*/ 67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147 w 10000"/>
              <a:gd name="connsiteY48" fmla="*/ 473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145 w 10000"/>
              <a:gd name="connsiteY32" fmla="*/ 8453 h 10000"/>
              <a:gd name="connsiteX33" fmla="*/ 1167 w 10000"/>
              <a:gd name="connsiteY33" fmla="*/ 8079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051 w 10000"/>
              <a:gd name="connsiteY36" fmla="*/ 67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532 w 10000"/>
              <a:gd name="connsiteY48" fmla="*/ 549 h 10000"/>
              <a:gd name="connsiteX49" fmla="*/ 257 w 10000"/>
              <a:gd name="connsiteY49" fmla="*/ 0 h 10000"/>
              <a:gd name="connsiteX0" fmla="*/ 257 w 10000"/>
              <a:gd name="connsiteY0" fmla="*/ 0 h 10000"/>
              <a:gd name="connsiteX1" fmla="*/ 8448 w 10000"/>
              <a:gd name="connsiteY1" fmla="*/ 92 h 10000"/>
              <a:gd name="connsiteX2" fmla="*/ 8353 w 10000"/>
              <a:gd name="connsiteY2" fmla="*/ 578 h 10000"/>
              <a:gd name="connsiteX3" fmla="*/ 8682 w 10000"/>
              <a:gd name="connsiteY3" fmla="*/ 999 h 10000"/>
              <a:gd name="connsiteX4" fmla="*/ 8631 w 10000"/>
              <a:gd name="connsiteY4" fmla="*/ 1302 h 10000"/>
              <a:gd name="connsiteX5" fmla="*/ 8426 w 10000"/>
              <a:gd name="connsiteY5" fmla="*/ 1997 h 10000"/>
              <a:gd name="connsiteX6" fmla="*/ 8537 w 10000"/>
              <a:gd name="connsiteY6" fmla="*/ 2261 h 10000"/>
              <a:gd name="connsiteX7" fmla="*/ 8572 w 10000"/>
              <a:gd name="connsiteY7" fmla="*/ 2579 h 10000"/>
              <a:gd name="connsiteX8" fmla="*/ 8976 w 10000"/>
              <a:gd name="connsiteY8" fmla="*/ 3103 h 10000"/>
              <a:gd name="connsiteX9" fmla="*/ 9458 w 10000"/>
              <a:gd name="connsiteY9" fmla="*/ 3431 h 10000"/>
              <a:gd name="connsiteX10" fmla="*/ 9561 w 10000"/>
              <a:gd name="connsiteY10" fmla="*/ 4050 h 10000"/>
              <a:gd name="connsiteX11" fmla="*/ 9743 w 10000"/>
              <a:gd name="connsiteY11" fmla="*/ 4417 h 10000"/>
              <a:gd name="connsiteX12" fmla="*/ 9890 w 10000"/>
              <a:gd name="connsiteY12" fmla="*/ 4681 h 10000"/>
              <a:gd name="connsiteX13" fmla="*/ 10000 w 10000"/>
              <a:gd name="connsiteY13" fmla="*/ 5469 h 10000"/>
              <a:gd name="connsiteX14" fmla="*/ 9781 w 10000"/>
              <a:gd name="connsiteY14" fmla="*/ 5941 h 10000"/>
              <a:gd name="connsiteX15" fmla="*/ 9670 w 10000"/>
              <a:gd name="connsiteY15" fmla="*/ 6205 h 10000"/>
              <a:gd name="connsiteX16" fmla="*/ 9670 w 10000"/>
              <a:gd name="connsiteY16" fmla="*/ 6678 h 10000"/>
              <a:gd name="connsiteX17" fmla="*/ 9233 w 10000"/>
              <a:gd name="connsiteY17" fmla="*/ 6624 h 10000"/>
              <a:gd name="connsiteX18" fmla="*/ 8902 w 10000"/>
              <a:gd name="connsiteY18" fmla="*/ 6888 h 10000"/>
              <a:gd name="connsiteX19" fmla="*/ 8756 w 10000"/>
              <a:gd name="connsiteY19" fmla="*/ 7098 h 10000"/>
              <a:gd name="connsiteX20" fmla="*/ 8572 w 10000"/>
              <a:gd name="connsiteY20" fmla="*/ 7519 h 10000"/>
              <a:gd name="connsiteX21" fmla="*/ 8609 w 10000"/>
              <a:gd name="connsiteY21" fmla="*/ 7889 h 10000"/>
              <a:gd name="connsiteX22" fmla="*/ 8793 w 10000"/>
              <a:gd name="connsiteY22" fmla="*/ 8518 h 10000"/>
              <a:gd name="connsiteX23" fmla="*/ 8537 w 10000"/>
              <a:gd name="connsiteY23" fmla="*/ 8888 h 10000"/>
              <a:gd name="connsiteX24" fmla="*/ 8170 w 10000"/>
              <a:gd name="connsiteY24" fmla="*/ 9726 h 10000"/>
              <a:gd name="connsiteX25" fmla="*/ 8097 w 10000"/>
              <a:gd name="connsiteY25" fmla="*/ 9990 h 10000"/>
              <a:gd name="connsiteX26" fmla="*/ 7766 w 10000"/>
              <a:gd name="connsiteY26" fmla="*/ 9936 h 10000"/>
              <a:gd name="connsiteX27" fmla="*/ 7400 w 10000"/>
              <a:gd name="connsiteY27" fmla="*/ 9726 h 10000"/>
              <a:gd name="connsiteX28" fmla="*/ 1502 w 10000"/>
              <a:gd name="connsiteY28" fmla="*/ 9936 h 10000"/>
              <a:gd name="connsiteX29" fmla="*/ 1428 w 10000"/>
              <a:gd name="connsiteY29" fmla="*/ 9465 h 10000"/>
              <a:gd name="connsiteX30" fmla="*/ 1223 w 10000"/>
              <a:gd name="connsiteY30" fmla="*/ 9322 h 10000"/>
              <a:gd name="connsiteX31" fmla="*/ 1120 w 10000"/>
              <a:gd name="connsiteY31" fmla="*/ 8931 h 10000"/>
              <a:gd name="connsiteX32" fmla="*/ 1145 w 10000"/>
              <a:gd name="connsiteY32" fmla="*/ 8453 h 10000"/>
              <a:gd name="connsiteX33" fmla="*/ 1167 w 10000"/>
              <a:gd name="connsiteY33" fmla="*/ 8079 h 10000"/>
              <a:gd name="connsiteX34" fmla="*/ 1246 w 10000"/>
              <a:gd name="connsiteY34" fmla="*/ 7622 h 10000"/>
              <a:gd name="connsiteX35" fmla="*/ 1173 w 10000"/>
              <a:gd name="connsiteY35" fmla="*/ 7204 h 10000"/>
              <a:gd name="connsiteX36" fmla="*/ 1051 w 10000"/>
              <a:gd name="connsiteY36" fmla="*/ 6788 h 10000"/>
              <a:gd name="connsiteX37" fmla="*/ 1062 w 10000"/>
              <a:gd name="connsiteY37" fmla="*/ 6415 h 10000"/>
              <a:gd name="connsiteX38" fmla="*/ 1062 w 10000"/>
              <a:gd name="connsiteY38" fmla="*/ 6311 h 10000"/>
              <a:gd name="connsiteX39" fmla="*/ 1100 w 10000"/>
              <a:gd name="connsiteY39" fmla="*/ 5785 h 10000"/>
              <a:gd name="connsiteX40" fmla="*/ 953 w 10000"/>
              <a:gd name="connsiteY40" fmla="*/ 5362 h 10000"/>
              <a:gd name="connsiteX41" fmla="*/ 696 w 10000"/>
              <a:gd name="connsiteY41" fmla="*/ 4522 h 10000"/>
              <a:gd name="connsiteX42" fmla="*/ 623 w 10000"/>
              <a:gd name="connsiteY42" fmla="*/ 3891 h 10000"/>
              <a:gd name="connsiteX43" fmla="*/ 623 w 10000"/>
              <a:gd name="connsiteY43" fmla="*/ 3470 h 10000"/>
              <a:gd name="connsiteX44" fmla="*/ 0 w 10000"/>
              <a:gd name="connsiteY44" fmla="*/ 2631 h 10000"/>
              <a:gd name="connsiteX45" fmla="*/ 477 w 10000"/>
              <a:gd name="connsiteY45" fmla="*/ 2051 h 10000"/>
              <a:gd name="connsiteX46" fmla="*/ 477 w 10000"/>
              <a:gd name="connsiteY46" fmla="*/ 1789 h 10000"/>
              <a:gd name="connsiteX47" fmla="*/ 477 w 10000"/>
              <a:gd name="connsiteY47" fmla="*/ 999 h 10000"/>
              <a:gd name="connsiteX48" fmla="*/ 532 w 10000"/>
              <a:gd name="connsiteY48" fmla="*/ 549 h 10000"/>
              <a:gd name="connsiteX49" fmla="*/ 4732 w 10000"/>
              <a:gd name="connsiteY49" fmla="*/ 478 h 10000"/>
              <a:gd name="connsiteX0" fmla="*/ 8448 w 10000"/>
              <a:gd name="connsiteY0" fmla="*/ 0 h 9908"/>
              <a:gd name="connsiteX1" fmla="*/ 8353 w 10000"/>
              <a:gd name="connsiteY1" fmla="*/ 486 h 9908"/>
              <a:gd name="connsiteX2" fmla="*/ 8682 w 10000"/>
              <a:gd name="connsiteY2" fmla="*/ 907 h 9908"/>
              <a:gd name="connsiteX3" fmla="*/ 8631 w 10000"/>
              <a:gd name="connsiteY3" fmla="*/ 1210 h 9908"/>
              <a:gd name="connsiteX4" fmla="*/ 8426 w 10000"/>
              <a:gd name="connsiteY4" fmla="*/ 1905 h 9908"/>
              <a:gd name="connsiteX5" fmla="*/ 8537 w 10000"/>
              <a:gd name="connsiteY5" fmla="*/ 2169 h 9908"/>
              <a:gd name="connsiteX6" fmla="*/ 8572 w 10000"/>
              <a:gd name="connsiteY6" fmla="*/ 2487 h 9908"/>
              <a:gd name="connsiteX7" fmla="*/ 8976 w 10000"/>
              <a:gd name="connsiteY7" fmla="*/ 3011 h 9908"/>
              <a:gd name="connsiteX8" fmla="*/ 9458 w 10000"/>
              <a:gd name="connsiteY8" fmla="*/ 3339 h 9908"/>
              <a:gd name="connsiteX9" fmla="*/ 9561 w 10000"/>
              <a:gd name="connsiteY9" fmla="*/ 3958 h 9908"/>
              <a:gd name="connsiteX10" fmla="*/ 9743 w 10000"/>
              <a:gd name="connsiteY10" fmla="*/ 4325 h 9908"/>
              <a:gd name="connsiteX11" fmla="*/ 9890 w 10000"/>
              <a:gd name="connsiteY11" fmla="*/ 4589 h 9908"/>
              <a:gd name="connsiteX12" fmla="*/ 10000 w 10000"/>
              <a:gd name="connsiteY12" fmla="*/ 5377 h 9908"/>
              <a:gd name="connsiteX13" fmla="*/ 9781 w 10000"/>
              <a:gd name="connsiteY13" fmla="*/ 5849 h 9908"/>
              <a:gd name="connsiteX14" fmla="*/ 9670 w 10000"/>
              <a:gd name="connsiteY14" fmla="*/ 6113 h 9908"/>
              <a:gd name="connsiteX15" fmla="*/ 9670 w 10000"/>
              <a:gd name="connsiteY15" fmla="*/ 6586 h 9908"/>
              <a:gd name="connsiteX16" fmla="*/ 9233 w 10000"/>
              <a:gd name="connsiteY16" fmla="*/ 6532 h 9908"/>
              <a:gd name="connsiteX17" fmla="*/ 8902 w 10000"/>
              <a:gd name="connsiteY17" fmla="*/ 6796 h 9908"/>
              <a:gd name="connsiteX18" fmla="*/ 8756 w 10000"/>
              <a:gd name="connsiteY18" fmla="*/ 7006 h 9908"/>
              <a:gd name="connsiteX19" fmla="*/ 8572 w 10000"/>
              <a:gd name="connsiteY19" fmla="*/ 7427 h 9908"/>
              <a:gd name="connsiteX20" fmla="*/ 8609 w 10000"/>
              <a:gd name="connsiteY20" fmla="*/ 7797 h 9908"/>
              <a:gd name="connsiteX21" fmla="*/ 8793 w 10000"/>
              <a:gd name="connsiteY21" fmla="*/ 8426 h 9908"/>
              <a:gd name="connsiteX22" fmla="*/ 8537 w 10000"/>
              <a:gd name="connsiteY22" fmla="*/ 8796 h 9908"/>
              <a:gd name="connsiteX23" fmla="*/ 8170 w 10000"/>
              <a:gd name="connsiteY23" fmla="*/ 9634 h 9908"/>
              <a:gd name="connsiteX24" fmla="*/ 8097 w 10000"/>
              <a:gd name="connsiteY24" fmla="*/ 9898 h 9908"/>
              <a:gd name="connsiteX25" fmla="*/ 7766 w 10000"/>
              <a:gd name="connsiteY25" fmla="*/ 9844 h 9908"/>
              <a:gd name="connsiteX26" fmla="*/ 7400 w 10000"/>
              <a:gd name="connsiteY26" fmla="*/ 9634 h 9908"/>
              <a:gd name="connsiteX27" fmla="*/ 1502 w 10000"/>
              <a:gd name="connsiteY27" fmla="*/ 9844 h 9908"/>
              <a:gd name="connsiteX28" fmla="*/ 1428 w 10000"/>
              <a:gd name="connsiteY28" fmla="*/ 9373 h 9908"/>
              <a:gd name="connsiteX29" fmla="*/ 1223 w 10000"/>
              <a:gd name="connsiteY29" fmla="*/ 9230 h 9908"/>
              <a:gd name="connsiteX30" fmla="*/ 1120 w 10000"/>
              <a:gd name="connsiteY30" fmla="*/ 8839 h 9908"/>
              <a:gd name="connsiteX31" fmla="*/ 1145 w 10000"/>
              <a:gd name="connsiteY31" fmla="*/ 8361 h 9908"/>
              <a:gd name="connsiteX32" fmla="*/ 1167 w 10000"/>
              <a:gd name="connsiteY32" fmla="*/ 7987 h 9908"/>
              <a:gd name="connsiteX33" fmla="*/ 1246 w 10000"/>
              <a:gd name="connsiteY33" fmla="*/ 7530 h 9908"/>
              <a:gd name="connsiteX34" fmla="*/ 1173 w 10000"/>
              <a:gd name="connsiteY34" fmla="*/ 7112 h 9908"/>
              <a:gd name="connsiteX35" fmla="*/ 1051 w 10000"/>
              <a:gd name="connsiteY35" fmla="*/ 6696 h 9908"/>
              <a:gd name="connsiteX36" fmla="*/ 1062 w 10000"/>
              <a:gd name="connsiteY36" fmla="*/ 6323 h 9908"/>
              <a:gd name="connsiteX37" fmla="*/ 1062 w 10000"/>
              <a:gd name="connsiteY37" fmla="*/ 6219 h 9908"/>
              <a:gd name="connsiteX38" fmla="*/ 1100 w 10000"/>
              <a:gd name="connsiteY38" fmla="*/ 5693 h 9908"/>
              <a:gd name="connsiteX39" fmla="*/ 953 w 10000"/>
              <a:gd name="connsiteY39" fmla="*/ 5270 h 9908"/>
              <a:gd name="connsiteX40" fmla="*/ 696 w 10000"/>
              <a:gd name="connsiteY40" fmla="*/ 4430 h 9908"/>
              <a:gd name="connsiteX41" fmla="*/ 623 w 10000"/>
              <a:gd name="connsiteY41" fmla="*/ 3799 h 9908"/>
              <a:gd name="connsiteX42" fmla="*/ 623 w 10000"/>
              <a:gd name="connsiteY42" fmla="*/ 3378 h 9908"/>
              <a:gd name="connsiteX43" fmla="*/ 0 w 10000"/>
              <a:gd name="connsiteY43" fmla="*/ 2539 h 9908"/>
              <a:gd name="connsiteX44" fmla="*/ 477 w 10000"/>
              <a:gd name="connsiteY44" fmla="*/ 1959 h 9908"/>
              <a:gd name="connsiteX45" fmla="*/ 477 w 10000"/>
              <a:gd name="connsiteY45" fmla="*/ 1697 h 9908"/>
              <a:gd name="connsiteX46" fmla="*/ 477 w 10000"/>
              <a:gd name="connsiteY46" fmla="*/ 907 h 9908"/>
              <a:gd name="connsiteX47" fmla="*/ 532 w 10000"/>
              <a:gd name="connsiteY47" fmla="*/ 457 h 9908"/>
              <a:gd name="connsiteX48" fmla="*/ 4732 w 10000"/>
              <a:gd name="connsiteY48" fmla="*/ 386 h 9908"/>
              <a:gd name="connsiteX0" fmla="*/ 8448 w 10000"/>
              <a:gd name="connsiteY0" fmla="*/ 79 h 10079"/>
              <a:gd name="connsiteX1" fmla="*/ 8353 w 10000"/>
              <a:gd name="connsiteY1" fmla="*/ 570 h 10079"/>
              <a:gd name="connsiteX2" fmla="*/ 8682 w 10000"/>
              <a:gd name="connsiteY2" fmla="*/ 994 h 10079"/>
              <a:gd name="connsiteX3" fmla="*/ 8631 w 10000"/>
              <a:gd name="connsiteY3" fmla="*/ 1300 h 10079"/>
              <a:gd name="connsiteX4" fmla="*/ 8426 w 10000"/>
              <a:gd name="connsiteY4" fmla="*/ 2002 h 10079"/>
              <a:gd name="connsiteX5" fmla="*/ 8537 w 10000"/>
              <a:gd name="connsiteY5" fmla="*/ 2268 h 10079"/>
              <a:gd name="connsiteX6" fmla="*/ 8572 w 10000"/>
              <a:gd name="connsiteY6" fmla="*/ 2589 h 10079"/>
              <a:gd name="connsiteX7" fmla="*/ 8976 w 10000"/>
              <a:gd name="connsiteY7" fmla="*/ 3118 h 10079"/>
              <a:gd name="connsiteX8" fmla="*/ 9458 w 10000"/>
              <a:gd name="connsiteY8" fmla="*/ 3449 h 10079"/>
              <a:gd name="connsiteX9" fmla="*/ 9561 w 10000"/>
              <a:gd name="connsiteY9" fmla="*/ 4074 h 10079"/>
              <a:gd name="connsiteX10" fmla="*/ 9743 w 10000"/>
              <a:gd name="connsiteY10" fmla="*/ 4444 h 10079"/>
              <a:gd name="connsiteX11" fmla="*/ 9890 w 10000"/>
              <a:gd name="connsiteY11" fmla="*/ 4711 h 10079"/>
              <a:gd name="connsiteX12" fmla="*/ 10000 w 10000"/>
              <a:gd name="connsiteY12" fmla="*/ 5506 h 10079"/>
              <a:gd name="connsiteX13" fmla="*/ 9781 w 10000"/>
              <a:gd name="connsiteY13" fmla="*/ 5982 h 10079"/>
              <a:gd name="connsiteX14" fmla="*/ 9670 w 10000"/>
              <a:gd name="connsiteY14" fmla="*/ 6249 h 10079"/>
              <a:gd name="connsiteX15" fmla="*/ 9670 w 10000"/>
              <a:gd name="connsiteY15" fmla="*/ 6726 h 10079"/>
              <a:gd name="connsiteX16" fmla="*/ 9233 w 10000"/>
              <a:gd name="connsiteY16" fmla="*/ 6672 h 10079"/>
              <a:gd name="connsiteX17" fmla="*/ 8902 w 10000"/>
              <a:gd name="connsiteY17" fmla="*/ 6938 h 10079"/>
              <a:gd name="connsiteX18" fmla="*/ 8756 w 10000"/>
              <a:gd name="connsiteY18" fmla="*/ 7150 h 10079"/>
              <a:gd name="connsiteX19" fmla="*/ 8572 w 10000"/>
              <a:gd name="connsiteY19" fmla="*/ 7575 h 10079"/>
              <a:gd name="connsiteX20" fmla="*/ 8609 w 10000"/>
              <a:gd name="connsiteY20" fmla="*/ 7948 h 10079"/>
              <a:gd name="connsiteX21" fmla="*/ 8793 w 10000"/>
              <a:gd name="connsiteY21" fmla="*/ 8583 h 10079"/>
              <a:gd name="connsiteX22" fmla="*/ 8537 w 10000"/>
              <a:gd name="connsiteY22" fmla="*/ 8957 h 10079"/>
              <a:gd name="connsiteX23" fmla="*/ 8170 w 10000"/>
              <a:gd name="connsiteY23" fmla="*/ 9802 h 10079"/>
              <a:gd name="connsiteX24" fmla="*/ 8097 w 10000"/>
              <a:gd name="connsiteY24" fmla="*/ 10069 h 10079"/>
              <a:gd name="connsiteX25" fmla="*/ 7766 w 10000"/>
              <a:gd name="connsiteY25" fmla="*/ 10014 h 10079"/>
              <a:gd name="connsiteX26" fmla="*/ 7400 w 10000"/>
              <a:gd name="connsiteY26" fmla="*/ 9802 h 10079"/>
              <a:gd name="connsiteX27" fmla="*/ 1502 w 10000"/>
              <a:gd name="connsiteY27" fmla="*/ 10014 h 10079"/>
              <a:gd name="connsiteX28" fmla="*/ 1428 w 10000"/>
              <a:gd name="connsiteY28" fmla="*/ 9539 h 10079"/>
              <a:gd name="connsiteX29" fmla="*/ 1223 w 10000"/>
              <a:gd name="connsiteY29" fmla="*/ 9395 h 10079"/>
              <a:gd name="connsiteX30" fmla="*/ 1120 w 10000"/>
              <a:gd name="connsiteY30" fmla="*/ 9000 h 10079"/>
              <a:gd name="connsiteX31" fmla="*/ 1145 w 10000"/>
              <a:gd name="connsiteY31" fmla="*/ 8518 h 10079"/>
              <a:gd name="connsiteX32" fmla="*/ 1167 w 10000"/>
              <a:gd name="connsiteY32" fmla="*/ 8140 h 10079"/>
              <a:gd name="connsiteX33" fmla="*/ 1246 w 10000"/>
              <a:gd name="connsiteY33" fmla="*/ 7679 h 10079"/>
              <a:gd name="connsiteX34" fmla="*/ 1173 w 10000"/>
              <a:gd name="connsiteY34" fmla="*/ 7257 h 10079"/>
              <a:gd name="connsiteX35" fmla="*/ 1051 w 10000"/>
              <a:gd name="connsiteY35" fmla="*/ 6837 h 10079"/>
              <a:gd name="connsiteX36" fmla="*/ 1062 w 10000"/>
              <a:gd name="connsiteY36" fmla="*/ 6461 h 10079"/>
              <a:gd name="connsiteX37" fmla="*/ 1062 w 10000"/>
              <a:gd name="connsiteY37" fmla="*/ 6356 h 10079"/>
              <a:gd name="connsiteX38" fmla="*/ 1100 w 10000"/>
              <a:gd name="connsiteY38" fmla="*/ 5825 h 10079"/>
              <a:gd name="connsiteX39" fmla="*/ 953 w 10000"/>
              <a:gd name="connsiteY39" fmla="*/ 5398 h 10079"/>
              <a:gd name="connsiteX40" fmla="*/ 696 w 10000"/>
              <a:gd name="connsiteY40" fmla="*/ 4550 h 10079"/>
              <a:gd name="connsiteX41" fmla="*/ 623 w 10000"/>
              <a:gd name="connsiteY41" fmla="*/ 3913 h 10079"/>
              <a:gd name="connsiteX42" fmla="*/ 623 w 10000"/>
              <a:gd name="connsiteY42" fmla="*/ 3488 h 10079"/>
              <a:gd name="connsiteX43" fmla="*/ 0 w 10000"/>
              <a:gd name="connsiteY43" fmla="*/ 2642 h 10079"/>
              <a:gd name="connsiteX44" fmla="*/ 477 w 10000"/>
              <a:gd name="connsiteY44" fmla="*/ 2056 h 10079"/>
              <a:gd name="connsiteX45" fmla="*/ 477 w 10000"/>
              <a:gd name="connsiteY45" fmla="*/ 1792 h 10079"/>
              <a:gd name="connsiteX46" fmla="*/ 477 w 10000"/>
              <a:gd name="connsiteY46" fmla="*/ 994 h 10079"/>
              <a:gd name="connsiteX47" fmla="*/ 575 w 10000"/>
              <a:gd name="connsiteY47" fmla="*/ 21 h 10079"/>
              <a:gd name="connsiteX48" fmla="*/ 4732 w 10000"/>
              <a:gd name="connsiteY48" fmla="*/ 469 h 10079"/>
              <a:gd name="connsiteX0" fmla="*/ 8448 w 10000"/>
              <a:gd name="connsiteY0" fmla="*/ 87 h 10087"/>
              <a:gd name="connsiteX1" fmla="*/ 8353 w 10000"/>
              <a:gd name="connsiteY1" fmla="*/ 578 h 10087"/>
              <a:gd name="connsiteX2" fmla="*/ 8682 w 10000"/>
              <a:gd name="connsiteY2" fmla="*/ 1002 h 10087"/>
              <a:gd name="connsiteX3" fmla="*/ 8631 w 10000"/>
              <a:gd name="connsiteY3" fmla="*/ 1308 h 10087"/>
              <a:gd name="connsiteX4" fmla="*/ 8426 w 10000"/>
              <a:gd name="connsiteY4" fmla="*/ 2010 h 10087"/>
              <a:gd name="connsiteX5" fmla="*/ 8537 w 10000"/>
              <a:gd name="connsiteY5" fmla="*/ 2276 h 10087"/>
              <a:gd name="connsiteX6" fmla="*/ 8572 w 10000"/>
              <a:gd name="connsiteY6" fmla="*/ 2597 h 10087"/>
              <a:gd name="connsiteX7" fmla="*/ 8976 w 10000"/>
              <a:gd name="connsiteY7" fmla="*/ 3126 h 10087"/>
              <a:gd name="connsiteX8" fmla="*/ 9458 w 10000"/>
              <a:gd name="connsiteY8" fmla="*/ 3457 h 10087"/>
              <a:gd name="connsiteX9" fmla="*/ 9561 w 10000"/>
              <a:gd name="connsiteY9" fmla="*/ 4082 h 10087"/>
              <a:gd name="connsiteX10" fmla="*/ 9743 w 10000"/>
              <a:gd name="connsiteY10" fmla="*/ 4452 h 10087"/>
              <a:gd name="connsiteX11" fmla="*/ 9890 w 10000"/>
              <a:gd name="connsiteY11" fmla="*/ 4719 h 10087"/>
              <a:gd name="connsiteX12" fmla="*/ 10000 w 10000"/>
              <a:gd name="connsiteY12" fmla="*/ 5514 h 10087"/>
              <a:gd name="connsiteX13" fmla="*/ 9781 w 10000"/>
              <a:gd name="connsiteY13" fmla="*/ 5990 h 10087"/>
              <a:gd name="connsiteX14" fmla="*/ 9670 w 10000"/>
              <a:gd name="connsiteY14" fmla="*/ 6257 h 10087"/>
              <a:gd name="connsiteX15" fmla="*/ 9670 w 10000"/>
              <a:gd name="connsiteY15" fmla="*/ 6734 h 10087"/>
              <a:gd name="connsiteX16" fmla="*/ 9233 w 10000"/>
              <a:gd name="connsiteY16" fmla="*/ 6680 h 10087"/>
              <a:gd name="connsiteX17" fmla="*/ 8902 w 10000"/>
              <a:gd name="connsiteY17" fmla="*/ 6946 h 10087"/>
              <a:gd name="connsiteX18" fmla="*/ 8756 w 10000"/>
              <a:gd name="connsiteY18" fmla="*/ 7158 h 10087"/>
              <a:gd name="connsiteX19" fmla="*/ 8572 w 10000"/>
              <a:gd name="connsiteY19" fmla="*/ 7583 h 10087"/>
              <a:gd name="connsiteX20" fmla="*/ 8609 w 10000"/>
              <a:gd name="connsiteY20" fmla="*/ 7956 h 10087"/>
              <a:gd name="connsiteX21" fmla="*/ 8793 w 10000"/>
              <a:gd name="connsiteY21" fmla="*/ 8591 h 10087"/>
              <a:gd name="connsiteX22" fmla="*/ 8537 w 10000"/>
              <a:gd name="connsiteY22" fmla="*/ 8965 h 10087"/>
              <a:gd name="connsiteX23" fmla="*/ 8170 w 10000"/>
              <a:gd name="connsiteY23" fmla="*/ 9810 h 10087"/>
              <a:gd name="connsiteX24" fmla="*/ 8097 w 10000"/>
              <a:gd name="connsiteY24" fmla="*/ 10077 h 10087"/>
              <a:gd name="connsiteX25" fmla="*/ 7766 w 10000"/>
              <a:gd name="connsiteY25" fmla="*/ 10022 h 10087"/>
              <a:gd name="connsiteX26" fmla="*/ 7400 w 10000"/>
              <a:gd name="connsiteY26" fmla="*/ 9810 h 10087"/>
              <a:gd name="connsiteX27" fmla="*/ 1502 w 10000"/>
              <a:gd name="connsiteY27" fmla="*/ 10022 h 10087"/>
              <a:gd name="connsiteX28" fmla="*/ 1428 w 10000"/>
              <a:gd name="connsiteY28" fmla="*/ 9547 h 10087"/>
              <a:gd name="connsiteX29" fmla="*/ 1223 w 10000"/>
              <a:gd name="connsiteY29" fmla="*/ 9403 h 10087"/>
              <a:gd name="connsiteX30" fmla="*/ 1120 w 10000"/>
              <a:gd name="connsiteY30" fmla="*/ 9008 h 10087"/>
              <a:gd name="connsiteX31" fmla="*/ 1145 w 10000"/>
              <a:gd name="connsiteY31" fmla="*/ 8526 h 10087"/>
              <a:gd name="connsiteX32" fmla="*/ 1167 w 10000"/>
              <a:gd name="connsiteY32" fmla="*/ 8148 h 10087"/>
              <a:gd name="connsiteX33" fmla="*/ 1246 w 10000"/>
              <a:gd name="connsiteY33" fmla="*/ 7687 h 10087"/>
              <a:gd name="connsiteX34" fmla="*/ 1173 w 10000"/>
              <a:gd name="connsiteY34" fmla="*/ 7265 h 10087"/>
              <a:gd name="connsiteX35" fmla="*/ 1051 w 10000"/>
              <a:gd name="connsiteY35" fmla="*/ 6845 h 10087"/>
              <a:gd name="connsiteX36" fmla="*/ 1062 w 10000"/>
              <a:gd name="connsiteY36" fmla="*/ 6469 h 10087"/>
              <a:gd name="connsiteX37" fmla="*/ 1062 w 10000"/>
              <a:gd name="connsiteY37" fmla="*/ 6364 h 10087"/>
              <a:gd name="connsiteX38" fmla="*/ 1100 w 10000"/>
              <a:gd name="connsiteY38" fmla="*/ 5833 h 10087"/>
              <a:gd name="connsiteX39" fmla="*/ 953 w 10000"/>
              <a:gd name="connsiteY39" fmla="*/ 5406 h 10087"/>
              <a:gd name="connsiteX40" fmla="*/ 696 w 10000"/>
              <a:gd name="connsiteY40" fmla="*/ 4558 h 10087"/>
              <a:gd name="connsiteX41" fmla="*/ 623 w 10000"/>
              <a:gd name="connsiteY41" fmla="*/ 3921 h 10087"/>
              <a:gd name="connsiteX42" fmla="*/ 623 w 10000"/>
              <a:gd name="connsiteY42" fmla="*/ 3496 h 10087"/>
              <a:gd name="connsiteX43" fmla="*/ 0 w 10000"/>
              <a:gd name="connsiteY43" fmla="*/ 2650 h 10087"/>
              <a:gd name="connsiteX44" fmla="*/ 477 w 10000"/>
              <a:gd name="connsiteY44" fmla="*/ 2064 h 10087"/>
              <a:gd name="connsiteX45" fmla="*/ 477 w 10000"/>
              <a:gd name="connsiteY45" fmla="*/ 1800 h 10087"/>
              <a:gd name="connsiteX46" fmla="*/ 477 w 10000"/>
              <a:gd name="connsiteY46" fmla="*/ 1002 h 10087"/>
              <a:gd name="connsiteX47" fmla="*/ 575 w 10000"/>
              <a:gd name="connsiteY47" fmla="*/ 29 h 10087"/>
              <a:gd name="connsiteX48" fmla="*/ 4777 w 10000"/>
              <a:gd name="connsiteY48" fmla="*/ 249 h 10087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756 w 10000"/>
              <a:gd name="connsiteY18" fmla="*/ 7071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1100 w 10000"/>
              <a:gd name="connsiteY38" fmla="*/ 5746 h 10000"/>
              <a:gd name="connsiteX39" fmla="*/ 953 w 10000"/>
              <a:gd name="connsiteY39" fmla="*/ 5319 h 10000"/>
              <a:gd name="connsiteX40" fmla="*/ 696 w 10000"/>
              <a:gd name="connsiteY40" fmla="*/ 4471 h 10000"/>
              <a:gd name="connsiteX41" fmla="*/ 623 w 10000"/>
              <a:gd name="connsiteY41" fmla="*/ 3834 h 10000"/>
              <a:gd name="connsiteX42" fmla="*/ 623 w 10000"/>
              <a:gd name="connsiteY42" fmla="*/ 3409 h 10000"/>
              <a:gd name="connsiteX43" fmla="*/ 0 w 10000"/>
              <a:gd name="connsiteY43" fmla="*/ 2563 h 10000"/>
              <a:gd name="connsiteX44" fmla="*/ 477 w 10000"/>
              <a:gd name="connsiteY44" fmla="*/ 1977 h 10000"/>
              <a:gd name="connsiteX45" fmla="*/ 477 w 10000"/>
              <a:gd name="connsiteY45" fmla="*/ 1713 h 10000"/>
              <a:gd name="connsiteX46" fmla="*/ 477 w 10000"/>
              <a:gd name="connsiteY46" fmla="*/ 915 h 10000"/>
              <a:gd name="connsiteX47" fmla="*/ 715 w 10000"/>
              <a:gd name="connsiteY47" fmla="*/ 127 h 10000"/>
              <a:gd name="connsiteX48" fmla="*/ 4777 w 10000"/>
              <a:gd name="connsiteY48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756 w 10000"/>
              <a:gd name="connsiteY18" fmla="*/ 7071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1100 w 10000"/>
              <a:gd name="connsiteY38" fmla="*/ 5746 h 10000"/>
              <a:gd name="connsiteX39" fmla="*/ 953 w 10000"/>
              <a:gd name="connsiteY39" fmla="*/ 5319 h 10000"/>
              <a:gd name="connsiteX40" fmla="*/ 696 w 10000"/>
              <a:gd name="connsiteY40" fmla="*/ 4471 h 10000"/>
              <a:gd name="connsiteX41" fmla="*/ 623 w 10000"/>
              <a:gd name="connsiteY41" fmla="*/ 3834 h 10000"/>
              <a:gd name="connsiteX42" fmla="*/ 521 w 10000"/>
              <a:gd name="connsiteY42" fmla="*/ 3389 h 10000"/>
              <a:gd name="connsiteX43" fmla="*/ 0 w 10000"/>
              <a:gd name="connsiteY43" fmla="*/ 2563 h 10000"/>
              <a:gd name="connsiteX44" fmla="*/ 477 w 10000"/>
              <a:gd name="connsiteY44" fmla="*/ 1977 h 10000"/>
              <a:gd name="connsiteX45" fmla="*/ 477 w 10000"/>
              <a:gd name="connsiteY45" fmla="*/ 1713 h 10000"/>
              <a:gd name="connsiteX46" fmla="*/ 477 w 10000"/>
              <a:gd name="connsiteY46" fmla="*/ 915 h 10000"/>
              <a:gd name="connsiteX47" fmla="*/ 715 w 10000"/>
              <a:gd name="connsiteY47" fmla="*/ 127 h 10000"/>
              <a:gd name="connsiteX48" fmla="*/ 4777 w 10000"/>
              <a:gd name="connsiteY48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756 w 10000"/>
              <a:gd name="connsiteY18" fmla="*/ 7071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1100 w 10000"/>
              <a:gd name="connsiteY38" fmla="*/ 5746 h 10000"/>
              <a:gd name="connsiteX39" fmla="*/ 953 w 10000"/>
              <a:gd name="connsiteY39" fmla="*/ 5319 h 10000"/>
              <a:gd name="connsiteX40" fmla="*/ 696 w 10000"/>
              <a:gd name="connsiteY40" fmla="*/ 4471 h 10000"/>
              <a:gd name="connsiteX41" fmla="*/ 543 w 10000"/>
              <a:gd name="connsiteY41" fmla="*/ 3858 h 10000"/>
              <a:gd name="connsiteX42" fmla="*/ 521 w 10000"/>
              <a:gd name="connsiteY42" fmla="*/ 3389 h 10000"/>
              <a:gd name="connsiteX43" fmla="*/ 0 w 10000"/>
              <a:gd name="connsiteY43" fmla="*/ 2563 h 10000"/>
              <a:gd name="connsiteX44" fmla="*/ 477 w 10000"/>
              <a:gd name="connsiteY44" fmla="*/ 1977 h 10000"/>
              <a:gd name="connsiteX45" fmla="*/ 477 w 10000"/>
              <a:gd name="connsiteY45" fmla="*/ 1713 h 10000"/>
              <a:gd name="connsiteX46" fmla="*/ 477 w 10000"/>
              <a:gd name="connsiteY46" fmla="*/ 915 h 10000"/>
              <a:gd name="connsiteX47" fmla="*/ 715 w 10000"/>
              <a:gd name="connsiteY47" fmla="*/ 127 h 10000"/>
              <a:gd name="connsiteX48" fmla="*/ 4777 w 10000"/>
              <a:gd name="connsiteY48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756 w 10000"/>
              <a:gd name="connsiteY18" fmla="*/ 7071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953 w 10000"/>
              <a:gd name="connsiteY38" fmla="*/ 5319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756 w 10000"/>
              <a:gd name="connsiteY18" fmla="*/ 7071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838 w 10000"/>
              <a:gd name="connsiteY38" fmla="*/ 5455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793 w 10000"/>
              <a:gd name="connsiteY21" fmla="*/ 8504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838 w 10000"/>
              <a:gd name="connsiteY38" fmla="*/ 5455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621 w 10000"/>
              <a:gd name="connsiteY21" fmla="*/ 8392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838 w 10000"/>
              <a:gd name="connsiteY38" fmla="*/ 5455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621 w 10000"/>
              <a:gd name="connsiteY21" fmla="*/ 8392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838 w 10000"/>
              <a:gd name="connsiteY38" fmla="*/ 5455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48" fmla="*/ 8448 w 10000"/>
              <a:gd name="connsiteY48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572 w 10000"/>
              <a:gd name="connsiteY19" fmla="*/ 7496 h 10000"/>
              <a:gd name="connsiteX20" fmla="*/ 8754 w 10000"/>
              <a:gd name="connsiteY20" fmla="*/ 7424 h 10000"/>
              <a:gd name="connsiteX21" fmla="*/ 8609 w 10000"/>
              <a:gd name="connsiteY21" fmla="*/ 7869 h 10000"/>
              <a:gd name="connsiteX22" fmla="*/ 8621 w 10000"/>
              <a:gd name="connsiteY22" fmla="*/ 8392 h 10000"/>
              <a:gd name="connsiteX23" fmla="*/ 8537 w 10000"/>
              <a:gd name="connsiteY23" fmla="*/ 8878 h 10000"/>
              <a:gd name="connsiteX24" fmla="*/ 8170 w 10000"/>
              <a:gd name="connsiteY24" fmla="*/ 9723 h 10000"/>
              <a:gd name="connsiteX25" fmla="*/ 8097 w 10000"/>
              <a:gd name="connsiteY25" fmla="*/ 9990 h 10000"/>
              <a:gd name="connsiteX26" fmla="*/ 7766 w 10000"/>
              <a:gd name="connsiteY26" fmla="*/ 9935 h 10000"/>
              <a:gd name="connsiteX27" fmla="*/ 7400 w 10000"/>
              <a:gd name="connsiteY27" fmla="*/ 9723 h 10000"/>
              <a:gd name="connsiteX28" fmla="*/ 1502 w 10000"/>
              <a:gd name="connsiteY28" fmla="*/ 9935 h 10000"/>
              <a:gd name="connsiteX29" fmla="*/ 1428 w 10000"/>
              <a:gd name="connsiteY29" fmla="*/ 9460 h 10000"/>
              <a:gd name="connsiteX30" fmla="*/ 1223 w 10000"/>
              <a:gd name="connsiteY30" fmla="*/ 9316 h 10000"/>
              <a:gd name="connsiteX31" fmla="*/ 1120 w 10000"/>
              <a:gd name="connsiteY31" fmla="*/ 8921 h 10000"/>
              <a:gd name="connsiteX32" fmla="*/ 1145 w 10000"/>
              <a:gd name="connsiteY32" fmla="*/ 8439 h 10000"/>
              <a:gd name="connsiteX33" fmla="*/ 1167 w 10000"/>
              <a:gd name="connsiteY33" fmla="*/ 8061 h 10000"/>
              <a:gd name="connsiteX34" fmla="*/ 1246 w 10000"/>
              <a:gd name="connsiteY34" fmla="*/ 7600 h 10000"/>
              <a:gd name="connsiteX35" fmla="*/ 1173 w 10000"/>
              <a:gd name="connsiteY35" fmla="*/ 7178 h 10000"/>
              <a:gd name="connsiteX36" fmla="*/ 1051 w 10000"/>
              <a:gd name="connsiteY36" fmla="*/ 6758 h 10000"/>
              <a:gd name="connsiteX37" fmla="*/ 1062 w 10000"/>
              <a:gd name="connsiteY37" fmla="*/ 6382 h 10000"/>
              <a:gd name="connsiteX38" fmla="*/ 1062 w 10000"/>
              <a:gd name="connsiteY38" fmla="*/ 6277 h 10000"/>
              <a:gd name="connsiteX39" fmla="*/ 838 w 10000"/>
              <a:gd name="connsiteY39" fmla="*/ 5455 h 10000"/>
              <a:gd name="connsiteX40" fmla="*/ 696 w 10000"/>
              <a:gd name="connsiteY40" fmla="*/ 4471 h 10000"/>
              <a:gd name="connsiteX41" fmla="*/ 543 w 10000"/>
              <a:gd name="connsiteY41" fmla="*/ 3858 h 10000"/>
              <a:gd name="connsiteX42" fmla="*/ 521 w 10000"/>
              <a:gd name="connsiteY42" fmla="*/ 3389 h 10000"/>
              <a:gd name="connsiteX43" fmla="*/ 0 w 10000"/>
              <a:gd name="connsiteY43" fmla="*/ 2563 h 10000"/>
              <a:gd name="connsiteX44" fmla="*/ 477 w 10000"/>
              <a:gd name="connsiteY44" fmla="*/ 1977 h 10000"/>
              <a:gd name="connsiteX45" fmla="*/ 477 w 10000"/>
              <a:gd name="connsiteY45" fmla="*/ 1713 h 10000"/>
              <a:gd name="connsiteX46" fmla="*/ 477 w 10000"/>
              <a:gd name="connsiteY46" fmla="*/ 915 h 10000"/>
              <a:gd name="connsiteX47" fmla="*/ 715 w 10000"/>
              <a:gd name="connsiteY47" fmla="*/ 127 h 10000"/>
              <a:gd name="connsiteX48" fmla="*/ 4777 w 10000"/>
              <a:gd name="connsiteY48" fmla="*/ 162 h 10000"/>
              <a:gd name="connsiteX49" fmla="*/ 8448 w 10000"/>
              <a:gd name="connsiteY49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572 w 10000"/>
              <a:gd name="connsiteY19" fmla="*/ 7496 h 10000"/>
              <a:gd name="connsiteX20" fmla="*/ 8609 w 10000"/>
              <a:gd name="connsiteY20" fmla="*/ 7869 h 10000"/>
              <a:gd name="connsiteX21" fmla="*/ 8621 w 10000"/>
              <a:gd name="connsiteY21" fmla="*/ 8392 h 10000"/>
              <a:gd name="connsiteX22" fmla="*/ 8537 w 10000"/>
              <a:gd name="connsiteY22" fmla="*/ 8878 h 10000"/>
              <a:gd name="connsiteX23" fmla="*/ 8170 w 10000"/>
              <a:gd name="connsiteY23" fmla="*/ 9723 h 10000"/>
              <a:gd name="connsiteX24" fmla="*/ 8097 w 10000"/>
              <a:gd name="connsiteY24" fmla="*/ 9990 h 10000"/>
              <a:gd name="connsiteX25" fmla="*/ 7766 w 10000"/>
              <a:gd name="connsiteY25" fmla="*/ 9935 h 10000"/>
              <a:gd name="connsiteX26" fmla="*/ 7400 w 10000"/>
              <a:gd name="connsiteY26" fmla="*/ 9723 h 10000"/>
              <a:gd name="connsiteX27" fmla="*/ 1502 w 10000"/>
              <a:gd name="connsiteY27" fmla="*/ 9935 h 10000"/>
              <a:gd name="connsiteX28" fmla="*/ 1428 w 10000"/>
              <a:gd name="connsiteY28" fmla="*/ 9460 h 10000"/>
              <a:gd name="connsiteX29" fmla="*/ 1223 w 10000"/>
              <a:gd name="connsiteY29" fmla="*/ 9316 h 10000"/>
              <a:gd name="connsiteX30" fmla="*/ 1120 w 10000"/>
              <a:gd name="connsiteY30" fmla="*/ 8921 h 10000"/>
              <a:gd name="connsiteX31" fmla="*/ 1145 w 10000"/>
              <a:gd name="connsiteY31" fmla="*/ 8439 h 10000"/>
              <a:gd name="connsiteX32" fmla="*/ 1167 w 10000"/>
              <a:gd name="connsiteY32" fmla="*/ 8061 h 10000"/>
              <a:gd name="connsiteX33" fmla="*/ 1246 w 10000"/>
              <a:gd name="connsiteY33" fmla="*/ 7600 h 10000"/>
              <a:gd name="connsiteX34" fmla="*/ 1173 w 10000"/>
              <a:gd name="connsiteY34" fmla="*/ 7178 h 10000"/>
              <a:gd name="connsiteX35" fmla="*/ 1051 w 10000"/>
              <a:gd name="connsiteY35" fmla="*/ 6758 h 10000"/>
              <a:gd name="connsiteX36" fmla="*/ 1062 w 10000"/>
              <a:gd name="connsiteY36" fmla="*/ 6382 h 10000"/>
              <a:gd name="connsiteX37" fmla="*/ 1062 w 10000"/>
              <a:gd name="connsiteY37" fmla="*/ 6277 h 10000"/>
              <a:gd name="connsiteX38" fmla="*/ 838 w 10000"/>
              <a:gd name="connsiteY38" fmla="*/ 5455 h 10000"/>
              <a:gd name="connsiteX39" fmla="*/ 696 w 10000"/>
              <a:gd name="connsiteY39" fmla="*/ 4471 h 10000"/>
              <a:gd name="connsiteX40" fmla="*/ 543 w 10000"/>
              <a:gd name="connsiteY40" fmla="*/ 3858 h 10000"/>
              <a:gd name="connsiteX41" fmla="*/ 521 w 10000"/>
              <a:gd name="connsiteY41" fmla="*/ 3389 h 10000"/>
              <a:gd name="connsiteX42" fmla="*/ 0 w 10000"/>
              <a:gd name="connsiteY42" fmla="*/ 2563 h 10000"/>
              <a:gd name="connsiteX43" fmla="*/ 477 w 10000"/>
              <a:gd name="connsiteY43" fmla="*/ 1977 h 10000"/>
              <a:gd name="connsiteX44" fmla="*/ 477 w 10000"/>
              <a:gd name="connsiteY44" fmla="*/ 1713 h 10000"/>
              <a:gd name="connsiteX45" fmla="*/ 477 w 10000"/>
              <a:gd name="connsiteY45" fmla="*/ 915 h 10000"/>
              <a:gd name="connsiteX46" fmla="*/ 715 w 10000"/>
              <a:gd name="connsiteY46" fmla="*/ 127 h 10000"/>
              <a:gd name="connsiteX47" fmla="*/ 4777 w 10000"/>
              <a:gd name="connsiteY47" fmla="*/ 162 h 10000"/>
              <a:gd name="connsiteX48" fmla="*/ 8448 w 10000"/>
              <a:gd name="connsiteY48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609 w 10000"/>
              <a:gd name="connsiteY19" fmla="*/ 7869 h 10000"/>
              <a:gd name="connsiteX20" fmla="*/ 8621 w 10000"/>
              <a:gd name="connsiteY20" fmla="*/ 8392 h 10000"/>
              <a:gd name="connsiteX21" fmla="*/ 8537 w 10000"/>
              <a:gd name="connsiteY21" fmla="*/ 8878 h 10000"/>
              <a:gd name="connsiteX22" fmla="*/ 8170 w 10000"/>
              <a:gd name="connsiteY22" fmla="*/ 9723 h 10000"/>
              <a:gd name="connsiteX23" fmla="*/ 8097 w 10000"/>
              <a:gd name="connsiteY23" fmla="*/ 9990 h 10000"/>
              <a:gd name="connsiteX24" fmla="*/ 7766 w 10000"/>
              <a:gd name="connsiteY24" fmla="*/ 9935 h 10000"/>
              <a:gd name="connsiteX25" fmla="*/ 7400 w 10000"/>
              <a:gd name="connsiteY25" fmla="*/ 9723 h 10000"/>
              <a:gd name="connsiteX26" fmla="*/ 1502 w 10000"/>
              <a:gd name="connsiteY26" fmla="*/ 9935 h 10000"/>
              <a:gd name="connsiteX27" fmla="*/ 1428 w 10000"/>
              <a:gd name="connsiteY27" fmla="*/ 9460 h 10000"/>
              <a:gd name="connsiteX28" fmla="*/ 1223 w 10000"/>
              <a:gd name="connsiteY28" fmla="*/ 9316 h 10000"/>
              <a:gd name="connsiteX29" fmla="*/ 1120 w 10000"/>
              <a:gd name="connsiteY29" fmla="*/ 8921 h 10000"/>
              <a:gd name="connsiteX30" fmla="*/ 1145 w 10000"/>
              <a:gd name="connsiteY30" fmla="*/ 8439 h 10000"/>
              <a:gd name="connsiteX31" fmla="*/ 1167 w 10000"/>
              <a:gd name="connsiteY31" fmla="*/ 8061 h 10000"/>
              <a:gd name="connsiteX32" fmla="*/ 1246 w 10000"/>
              <a:gd name="connsiteY32" fmla="*/ 7600 h 10000"/>
              <a:gd name="connsiteX33" fmla="*/ 1173 w 10000"/>
              <a:gd name="connsiteY33" fmla="*/ 7178 h 10000"/>
              <a:gd name="connsiteX34" fmla="*/ 1051 w 10000"/>
              <a:gd name="connsiteY34" fmla="*/ 6758 h 10000"/>
              <a:gd name="connsiteX35" fmla="*/ 1062 w 10000"/>
              <a:gd name="connsiteY35" fmla="*/ 6382 h 10000"/>
              <a:gd name="connsiteX36" fmla="*/ 1062 w 10000"/>
              <a:gd name="connsiteY36" fmla="*/ 6277 h 10000"/>
              <a:gd name="connsiteX37" fmla="*/ 838 w 10000"/>
              <a:gd name="connsiteY37" fmla="*/ 5455 h 10000"/>
              <a:gd name="connsiteX38" fmla="*/ 696 w 10000"/>
              <a:gd name="connsiteY38" fmla="*/ 4471 h 10000"/>
              <a:gd name="connsiteX39" fmla="*/ 543 w 10000"/>
              <a:gd name="connsiteY39" fmla="*/ 3858 h 10000"/>
              <a:gd name="connsiteX40" fmla="*/ 521 w 10000"/>
              <a:gd name="connsiteY40" fmla="*/ 3389 h 10000"/>
              <a:gd name="connsiteX41" fmla="*/ 0 w 10000"/>
              <a:gd name="connsiteY41" fmla="*/ 2563 h 10000"/>
              <a:gd name="connsiteX42" fmla="*/ 477 w 10000"/>
              <a:gd name="connsiteY42" fmla="*/ 1977 h 10000"/>
              <a:gd name="connsiteX43" fmla="*/ 477 w 10000"/>
              <a:gd name="connsiteY43" fmla="*/ 1713 h 10000"/>
              <a:gd name="connsiteX44" fmla="*/ 477 w 10000"/>
              <a:gd name="connsiteY44" fmla="*/ 915 h 10000"/>
              <a:gd name="connsiteX45" fmla="*/ 715 w 10000"/>
              <a:gd name="connsiteY45" fmla="*/ 127 h 10000"/>
              <a:gd name="connsiteX46" fmla="*/ 4777 w 10000"/>
              <a:gd name="connsiteY46" fmla="*/ 162 h 10000"/>
              <a:gd name="connsiteX47" fmla="*/ 8448 w 10000"/>
              <a:gd name="connsiteY47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813 w 10000"/>
              <a:gd name="connsiteY19" fmla="*/ 7909 h 10000"/>
              <a:gd name="connsiteX20" fmla="*/ 8621 w 10000"/>
              <a:gd name="connsiteY20" fmla="*/ 8392 h 10000"/>
              <a:gd name="connsiteX21" fmla="*/ 8537 w 10000"/>
              <a:gd name="connsiteY21" fmla="*/ 8878 h 10000"/>
              <a:gd name="connsiteX22" fmla="*/ 8170 w 10000"/>
              <a:gd name="connsiteY22" fmla="*/ 9723 h 10000"/>
              <a:gd name="connsiteX23" fmla="*/ 8097 w 10000"/>
              <a:gd name="connsiteY23" fmla="*/ 9990 h 10000"/>
              <a:gd name="connsiteX24" fmla="*/ 7766 w 10000"/>
              <a:gd name="connsiteY24" fmla="*/ 9935 h 10000"/>
              <a:gd name="connsiteX25" fmla="*/ 7400 w 10000"/>
              <a:gd name="connsiteY25" fmla="*/ 9723 h 10000"/>
              <a:gd name="connsiteX26" fmla="*/ 1502 w 10000"/>
              <a:gd name="connsiteY26" fmla="*/ 9935 h 10000"/>
              <a:gd name="connsiteX27" fmla="*/ 1428 w 10000"/>
              <a:gd name="connsiteY27" fmla="*/ 9460 h 10000"/>
              <a:gd name="connsiteX28" fmla="*/ 1223 w 10000"/>
              <a:gd name="connsiteY28" fmla="*/ 9316 h 10000"/>
              <a:gd name="connsiteX29" fmla="*/ 1120 w 10000"/>
              <a:gd name="connsiteY29" fmla="*/ 8921 h 10000"/>
              <a:gd name="connsiteX30" fmla="*/ 1145 w 10000"/>
              <a:gd name="connsiteY30" fmla="*/ 8439 h 10000"/>
              <a:gd name="connsiteX31" fmla="*/ 1167 w 10000"/>
              <a:gd name="connsiteY31" fmla="*/ 8061 h 10000"/>
              <a:gd name="connsiteX32" fmla="*/ 1246 w 10000"/>
              <a:gd name="connsiteY32" fmla="*/ 7600 h 10000"/>
              <a:gd name="connsiteX33" fmla="*/ 1173 w 10000"/>
              <a:gd name="connsiteY33" fmla="*/ 7178 h 10000"/>
              <a:gd name="connsiteX34" fmla="*/ 1051 w 10000"/>
              <a:gd name="connsiteY34" fmla="*/ 6758 h 10000"/>
              <a:gd name="connsiteX35" fmla="*/ 1062 w 10000"/>
              <a:gd name="connsiteY35" fmla="*/ 6382 h 10000"/>
              <a:gd name="connsiteX36" fmla="*/ 1062 w 10000"/>
              <a:gd name="connsiteY36" fmla="*/ 6277 h 10000"/>
              <a:gd name="connsiteX37" fmla="*/ 838 w 10000"/>
              <a:gd name="connsiteY37" fmla="*/ 5455 h 10000"/>
              <a:gd name="connsiteX38" fmla="*/ 696 w 10000"/>
              <a:gd name="connsiteY38" fmla="*/ 4471 h 10000"/>
              <a:gd name="connsiteX39" fmla="*/ 543 w 10000"/>
              <a:gd name="connsiteY39" fmla="*/ 3858 h 10000"/>
              <a:gd name="connsiteX40" fmla="*/ 521 w 10000"/>
              <a:gd name="connsiteY40" fmla="*/ 3389 h 10000"/>
              <a:gd name="connsiteX41" fmla="*/ 0 w 10000"/>
              <a:gd name="connsiteY41" fmla="*/ 2563 h 10000"/>
              <a:gd name="connsiteX42" fmla="*/ 477 w 10000"/>
              <a:gd name="connsiteY42" fmla="*/ 1977 h 10000"/>
              <a:gd name="connsiteX43" fmla="*/ 477 w 10000"/>
              <a:gd name="connsiteY43" fmla="*/ 1713 h 10000"/>
              <a:gd name="connsiteX44" fmla="*/ 477 w 10000"/>
              <a:gd name="connsiteY44" fmla="*/ 915 h 10000"/>
              <a:gd name="connsiteX45" fmla="*/ 715 w 10000"/>
              <a:gd name="connsiteY45" fmla="*/ 127 h 10000"/>
              <a:gd name="connsiteX46" fmla="*/ 4777 w 10000"/>
              <a:gd name="connsiteY46" fmla="*/ 162 h 10000"/>
              <a:gd name="connsiteX47" fmla="*/ 8448 w 10000"/>
              <a:gd name="connsiteY47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813 w 10000"/>
              <a:gd name="connsiteY19" fmla="*/ 7909 h 10000"/>
              <a:gd name="connsiteX20" fmla="*/ 8537 w 10000"/>
              <a:gd name="connsiteY20" fmla="*/ 8878 h 10000"/>
              <a:gd name="connsiteX21" fmla="*/ 8170 w 10000"/>
              <a:gd name="connsiteY21" fmla="*/ 9723 h 10000"/>
              <a:gd name="connsiteX22" fmla="*/ 8097 w 10000"/>
              <a:gd name="connsiteY22" fmla="*/ 9990 h 10000"/>
              <a:gd name="connsiteX23" fmla="*/ 7766 w 10000"/>
              <a:gd name="connsiteY23" fmla="*/ 9935 h 10000"/>
              <a:gd name="connsiteX24" fmla="*/ 7400 w 10000"/>
              <a:gd name="connsiteY24" fmla="*/ 9723 h 10000"/>
              <a:gd name="connsiteX25" fmla="*/ 1502 w 10000"/>
              <a:gd name="connsiteY25" fmla="*/ 9935 h 10000"/>
              <a:gd name="connsiteX26" fmla="*/ 1428 w 10000"/>
              <a:gd name="connsiteY26" fmla="*/ 9460 h 10000"/>
              <a:gd name="connsiteX27" fmla="*/ 1223 w 10000"/>
              <a:gd name="connsiteY27" fmla="*/ 9316 h 10000"/>
              <a:gd name="connsiteX28" fmla="*/ 1120 w 10000"/>
              <a:gd name="connsiteY28" fmla="*/ 8921 h 10000"/>
              <a:gd name="connsiteX29" fmla="*/ 1145 w 10000"/>
              <a:gd name="connsiteY29" fmla="*/ 8439 h 10000"/>
              <a:gd name="connsiteX30" fmla="*/ 1167 w 10000"/>
              <a:gd name="connsiteY30" fmla="*/ 8061 h 10000"/>
              <a:gd name="connsiteX31" fmla="*/ 1246 w 10000"/>
              <a:gd name="connsiteY31" fmla="*/ 7600 h 10000"/>
              <a:gd name="connsiteX32" fmla="*/ 1173 w 10000"/>
              <a:gd name="connsiteY32" fmla="*/ 7178 h 10000"/>
              <a:gd name="connsiteX33" fmla="*/ 1051 w 10000"/>
              <a:gd name="connsiteY33" fmla="*/ 6758 h 10000"/>
              <a:gd name="connsiteX34" fmla="*/ 1062 w 10000"/>
              <a:gd name="connsiteY34" fmla="*/ 6382 h 10000"/>
              <a:gd name="connsiteX35" fmla="*/ 1062 w 10000"/>
              <a:gd name="connsiteY35" fmla="*/ 6277 h 10000"/>
              <a:gd name="connsiteX36" fmla="*/ 838 w 10000"/>
              <a:gd name="connsiteY36" fmla="*/ 5455 h 10000"/>
              <a:gd name="connsiteX37" fmla="*/ 696 w 10000"/>
              <a:gd name="connsiteY37" fmla="*/ 4471 h 10000"/>
              <a:gd name="connsiteX38" fmla="*/ 543 w 10000"/>
              <a:gd name="connsiteY38" fmla="*/ 3858 h 10000"/>
              <a:gd name="connsiteX39" fmla="*/ 521 w 10000"/>
              <a:gd name="connsiteY39" fmla="*/ 3389 h 10000"/>
              <a:gd name="connsiteX40" fmla="*/ 0 w 10000"/>
              <a:gd name="connsiteY40" fmla="*/ 2563 h 10000"/>
              <a:gd name="connsiteX41" fmla="*/ 477 w 10000"/>
              <a:gd name="connsiteY41" fmla="*/ 1977 h 10000"/>
              <a:gd name="connsiteX42" fmla="*/ 477 w 10000"/>
              <a:gd name="connsiteY42" fmla="*/ 1713 h 10000"/>
              <a:gd name="connsiteX43" fmla="*/ 477 w 10000"/>
              <a:gd name="connsiteY43" fmla="*/ 915 h 10000"/>
              <a:gd name="connsiteX44" fmla="*/ 715 w 10000"/>
              <a:gd name="connsiteY44" fmla="*/ 127 h 10000"/>
              <a:gd name="connsiteX45" fmla="*/ 4777 w 10000"/>
              <a:gd name="connsiteY45" fmla="*/ 162 h 10000"/>
              <a:gd name="connsiteX46" fmla="*/ 8448 w 10000"/>
              <a:gd name="connsiteY46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813 w 10000"/>
              <a:gd name="connsiteY19" fmla="*/ 7909 h 10000"/>
              <a:gd name="connsiteX20" fmla="*/ 8218 w 10000"/>
              <a:gd name="connsiteY20" fmla="*/ 8974 h 10000"/>
              <a:gd name="connsiteX21" fmla="*/ 8170 w 10000"/>
              <a:gd name="connsiteY21" fmla="*/ 9723 h 10000"/>
              <a:gd name="connsiteX22" fmla="*/ 8097 w 10000"/>
              <a:gd name="connsiteY22" fmla="*/ 9990 h 10000"/>
              <a:gd name="connsiteX23" fmla="*/ 7766 w 10000"/>
              <a:gd name="connsiteY23" fmla="*/ 9935 h 10000"/>
              <a:gd name="connsiteX24" fmla="*/ 7400 w 10000"/>
              <a:gd name="connsiteY24" fmla="*/ 9723 h 10000"/>
              <a:gd name="connsiteX25" fmla="*/ 1502 w 10000"/>
              <a:gd name="connsiteY25" fmla="*/ 9935 h 10000"/>
              <a:gd name="connsiteX26" fmla="*/ 1428 w 10000"/>
              <a:gd name="connsiteY26" fmla="*/ 9460 h 10000"/>
              <a:gd name="connsiteX27" fmla="*/ 1223 w 10000"/>
              <a:gd name="connsiteY27" fmla="*/ 9316 h 10000"/>
              <a:gd name="connsiteX28" fmla="*/ 1120 w 10000"/>
              <a:gd name="connsiteY28" fmla="*/ 8921 h 10000"/>
              <a:gd name="connsiteX29" fmla="*/ 1145 w 10000"/>
              <a:gd name="connsiteY29" fmla="*/ 8439 h 10000"/>
              <a:gd name="connsiteX30" fmla="*/ 1167 w 10000"/>
              <a:gd name="connsiteY30" fmla="*/ 8061 h 10000"/>
              <a:gd name="connsiteX31" fmla="*/ 1246 w 10000"/>
              <a:gd name="connsiteY31" fmla="*/ 7600 h 10000"/>
              <a:gd name="connsiteX32" fmla="*/ 1173 w 10000"/>
              <a:gd name="connsiteY32" fmla="*/ 7178 h 10000"/>
              <a:gd name="connsiteX33" fmla="*/ 1051 w 10000"/>
              <a:gd name="connsiteY33" fmla="*/ 6758 h 10000"/>
              <a:gd name="connsiteX34" fmla="*/ 1062 w 10000"/>
              <a:gd name="connsiteY34" fmla="*/ 6382 h 10000"/>
              <a:gd name="connsiteX35" fmla="*/ 1062 w 10000"/>
              <a:gd name="connsiteY35" fmla="*/ 6277 h 10000"/>
              <a:gd name="connsiteX36" fmla="*/ 838 w 10000"/>
              <a:gd name="connsiteY36" fmla="*/ 5455 h 10000"/>
              <a:gd name="connsiteX37" fmla="*/ 696 w 10000"/>
              <a:gd name="connsiteY37" fmla="*/ 4471 h 10000"/>
              <a:gd name="connsiteX38" fmla="*/ 543 w 10000"/>
              <a:gd name="connsiteY38" fmla="*/ 3858 h 10000"/>
              <a:gd name="connsiteX39" fmla="*/ 521 w 10000"/>
              <a:gd name="connsiteY39" fmla="*/ 3389 h 10000"/>
              <a:gd name="connsiteX40" fmla="*/ 0 w 10000"/>
              <a:gd name="connsiteY40" fmla="*/ 2563 h 10000"/>
              <a:gd name="connsiteX41" fmla="*/ 477 w 10000"/>
              <a:gd name="connsiteY41" fmla="*/ 1977 h 10000"/>
              <a:gd name="connsiteX42" fmla="*/ 477 w 10000"/>
              <a:gd name="connsiteY42" fmla="*/ 1713 h 10000"/>
              <a:gd name="connsiteX43" fmla="*/ 477 w 10000"/>
              <a:gd name="connsiteY43" fmla="*/ 915 h 10000"/>
              <a:gd name="connsiteX44" fmla="*/ 715 w 10000"/>
              <a:gd name="connsiteY44" fmla="*/ 127 h 10000"/>
              <a:gd name="connsiteX45" fmla="*/ 4777 w 10000"/>
              <a:gd name="connsiteY45" fmla="*/ 162 h 10000"/>
              <a:gd name="connsiteX46" fmla="*/ 8448 w 10000"/>
              <a:gd name="connsiteY46" fmla="*/ 0 h 10000"/>
              <a:gd name="connsiteX0" fmla="*/ 8448 w 10000"/>
              <a:gd name="connsiteY0" fmla="*/ 0 h 10000"/>
              <a:gd name="connsiteX1" fmla="*/ 8353 w 10000"/>
              <a:gd name="connsiteY1" fmla="*/ 491 h 10000"/>
              <a:gd name="connsiteX2" fmla="*/ 8682 w 10000"/>
              <a:gd name="connsiteY2" fmla="*/ 915 h 10000"/>
              <a:gd name="connsiteX3" fmla="*/ 8631 w 10000"/>
              <a:gd name="connsiteY3" fmla="*/ 1221 h 10000"/>
              <a:gd name="connsiteX4" fmla="*/ 8426 w 10000"/>
              <a:gd name="connsiteY4" fmla="*/ 1923 h 10000"/>
              <a:gd name="connsiteX5" fmla="*/ 8537 w 10000"/>
              <a:gd name="connsiteY5" fmla="*/ 2189 h 10000"/>
              <a:gd name="connsiteX6" fmla="*/ 8572 w 10000"/>
              <a:gd name="connsiteY6" fmla="*/ 2510 h 10000"/>
              <a:gd name="connsiteX7" fmla="*/ 8976 w 10000"/>
              <a:gd name="connsiteY7" fmla="*/ 3039 h 10000"/>
              <a:gd name="connsiteX8" fmla="*/ 9458 w 10000"/>
              <a:gd name="connsiteY8" fmla="*/ 3370 h 10000"/>
              <a:gd name="connsiteX9" fmla="*/ 9561 w 10000"/>
              <a:gd name="connsiteY9" fmla="*/ 3995 h 10000"/>
              <a:gd name="connsiteX10" fmla="*/ 9743 w 10000"/>
              <a:gd name="connsiteY10" fmla="*/ 4365 h 10000"/>
              <a:gd name="connsiteX11" fmla="*/ 9890 w 10000"/>
              <a:gd name="connsiteY11" fmla="*/ 4632 h 10000"/>
              <a:gd name="connsiteX12" fmla="*/ 10000 w 10000"/>
              <a:gd name="connsiteY12" fmla="*/ 5427 h 10000"/>
              <a:gd name="connsiteX13" fmla="*/ 9781 w 10000"/>
              <a:gd name="connsiteY13" fmla="*/ 5903 h 10000"/>
              <a:gd name="connsiteX14" fmla="*/ 9670 w 10000"/>
              <a:gd name="connsiteY14" fmla="*/ 6170 h 10000"/>
              <a:gd name="connsiteX15" fmla="*/ 9670 w 10000"/>
              <a:gd name="connsiteY15" fmla="*/ 6647 h 10000"/>
              <a:gd name="connsiteX16" fmla="*/ 9233 w 10000"/>
              <a:gd name="connsiteY16" fmla="*/ 6593 h 10000"/>
              <a:gd name="connsiteX17" fmla="*/ 8902 w 10000"/>
              <a:gd name="connsiteY17" fmla="*/ 6859 h 10000"/>
              <a:gd name="connsiteX18" fmla="*/ 8667 w 10000"/>
              <a:gd name="connsiteY18" fmla="*/ 6896 h 10000"/>
              <a:gd name="connsiteX19" fmla="*/ 8813 w 10000"/>
              <a:gd name="connsiteY19" fmla="*/ 7909 h 10000"/>
              <a:gd name="connsiteX20" fmla="*/ 8218 w 10000"/>
              <a:gd name="connsiteY20" fmla="*/ 8974 h 10000"/>
              <a:gd name="connsiteX21" fmla="*/ 8097 w 10000"/>
              <a:gd name="connsiteY21" fmla="*/ 9990 h 10000"/>
              <a:gd name="connsiteX22" fmla="*/ 7766 w 10000"/>
              <a:gd name="connsiteY22" fmla="*/ 9935 h 10000"/>
              <a:gd name="connsiteX23" fmla="*/ 7400 w 10000"/>
              <a:gd name="connsiteY23" fmla="*/ 9723 h 10000"/>
              <a:gd name="connsiteX24" fmla="*/ 1502 w 10000"/>
              <a:gd name="connsiteY24" fmla="*/ 9935 h 10000"/>
              <a:gd name="connsiteX25" fmla="*/ 1428 w 10000"/>
              <a:gd name="connsiteY25" fmla="*/ 9460 h 10000"/>
              <a:gd name="connsiteX26" fmla="*/ 1223 w 10000"/>
              <a:gd name="connsiteY26" fmla="*/ 9316 h 10000"/>
              <a:gd name="connsiteX27" fmla="*/ 1120 w 10000"/>
              <a:gd name="connsiteY27" fmla="*/ 8921 h 10000"/>
              <a:gd name="connsiteX28" fmla="*/ 1145 w 10000"/>
              <a:gd name="connsiteY28" fmla="*/ 8439 h 10000"/>
              <a:gd name="connsiteX29" fmla="*/ 1167 w 10000"/>
              <a:gd name="connsiteY29" fmla="*/ 8061 h 10000"/>
              <a:gd name="connsiteX30" fmla="*/ 1246 w 10000"/>
              <a:gd name="connsiteY30" fmla="*/ 7600 h 10000"/>
              <a:gd name="connsiteX31" fmla="*/ 1173 w 10000"/>
              <a:gd name="connsiteY31" fmla="*/ 7178 h 10000"/>
              <a:gd name="connsiteX32" fmla="*/ 1051 w 10000"/>
              <a:gd name="connsiteY32" fmla="*/ 6758 h 10000"/>
              <a:gd name="connsiteX33" fmla="*/ 1062 w 10000"/>
              <a:gd name="connsiteY33" fmla="*/ 6382 h 10000"/>
              <a:gd name="connsiteX34" fmla="*/ 1062 w 10000"/>
              <a:gd name="connsiteY34" fmla="*/ 6277 h 10000"/>
              <a:gd name="connsiteX35" fmla="*/ 838 w 10000"/>
              <a:gd name="connsiteY35" fmla="*/ 5455 h 10000"/>
              <a:gd name="connsiteX36" fmla="*/ 696 w 10000"/>
              <a:gd name="connsiteY36" fmla="*/ 4471 h 10000"/>
              <a:gd name="connsiteX37" fmla="*/ 543 w 10000"/>
              <a:gd name="connsiteY37" fmla="*/ 3858 h 10000"/>
              <a:gd name="connsiteX38" fmla="*/ 521 w 10000"/>
              <a:gd name="connsiteY38" fmla="*/ 3389 h 10000"/>
              <a:gd name="connsiteX39" fmla="*/ 0 w 10000"/>
              <a:gd name="connsiteY39" fmla="*/ 2563 h 10000"/>
              <a:gd name="connsiteX40" fmla="*/ 477 w 10000"/>
              <a:gd name="connsiteY40" fmla="*/ 1977 h 10000"/>
              <a:gd name="connsiteX41" fmla="*/ 477 w 10000"/>
              <a:gd name="connsiteY41" fmla="*/ 1713 h 10000"/>
              <a:gd name="connsiteX42" fmla="*/ 477 w 10000"/>
              <a:gd name="connsiteY42" fmla="*/ 915 h 10000"/>
              <a:gd name="connsiteX43" fmla="*/ 715 w 10000"/>
              <a:gd name="connsiteY43" fmla="*/ 127 h 10000"/>
              <a:gd name="connsiteX44" fmla="*/ 4777 w 10000"/>
              <a:gd name="connsiteY44" fmla="*/ 162 h 10000"/>
              <a:gd name="connsiteX45" fmla="*/ 8448 w 10000"/>
              <a:gd name="connsiteY45" fmla="*/ 0 h 10000"/>
              <a:gd name="connsiteX0" fmla="*/ 8448 w 10000"/>
              <a:gd name="connsiteY0" fmla="*/ 0 h 10015"/>
              <a:gd name="connsiteX1" fmla="*/ 8353 w 10000"/>
              <a:gd name="connsiteY1" fmla="*/ 491 h 10015"/>
              <a:gd name="connsiteX2" fmla="*/ 8682 w 10000"/>
              <a:gd name="connsiteY2" fmla="*/ 915 h 10015"/>
              <a:gd name="connsiteX3" fmla="*/ 8631 w 10000"/>
              <a:gd name="connsiteY3" fmla="*/ 1221 h 10015"/>
              <a:gd name="connsiteX4" fmla="*/ 8426 w 10000"/>
              <a:gd name="connsiteY4" fmla="*/ 1923 h 10015"/>
              <a:gd name="connsiteX5" fmla="*/ 8537 w 10000"/>
              <a:gd name="connsiteY5" fmla="*/ 2189 h 10015"/>
              <a:gd name="connsiteX6" fmla="*/ 8572 w 10000"/>
              <a:gd name="connsiteY6" fmla="*/ 2510 h 10015"/>
              <a:gd name="connsiteX7" fmla="*/ 8976 w 10000"/>
              <a:gd name="connsiteY7" fmla="*/ 3039 h 10015"/>
              <a:gd name="connsiteX8" fmla="*/ 9458 w 10000"/>
              <a:gd name="connsiteY8" fmla="*/ 3370 h 10015"/>
              <a:gd name="connsiteX9" fmla="*/ 9561 w 10000"/>
              <a:gd name="connsiteY9" fmla="*/ 3995 h 10015"/>
              <a:gd name="connsiteX10" fmla="*/ 9743 w 10000"/>
              <a:gd name="connsiteY10" fmla="*/ 4365 h 10015"/>
              <a:gd name="connsiteX11" fmla="*/ 9890 w 10000"/>
              <a:gd name="connsiteY11" fmla="*/ 4632 h 10015"/>
              <a:gd name="connsiteX12" fmla="*/ 10000 w 10000"/>
              <a:gd name="connsiteY12" fmla="*/ 5427 h 10015"/>
              <a:gd name="connsiteX13" fmla="*/ 9781 w 10000"/>
              <a:gd name="connsiteY13" fmla="*/ 5903 h 10015"/>
              <a:gd name="connsiteX14" fmla="*/ 9670 w 10000"/>
              <a:gd name="connsiteY14" fmla="*/ 6170 h 10015"/>
              <a:gd name="connsiteX15" fmla="*/ 9670 w 10000"/>
              <a:gd name="connsiteY15" fmla="*/ 6647 h 10015"/>
              <a:gd name="connsiteX16" fmla="*/ 9233 w 10000"/>
              <a:gd name="connsiteY16" fmla="*/ 6593 h 10015"/>
              <a:gd name="connsiteX17" fmla="*/ 8902 w 10000"/>
              <a:gd name="connsiteY17" fmla="*/ 6859 h 10015"/>
              <a:gd name="connsiteX18" fmla="*/ 8667 w 10000"/>
              <a:gd name="connsiteY18" fmla="*/ 6896 h 10015"/>
              <a:gd name="connsiteX19" fmla="*/ 8813 w 10000"/>
              <a:gd name="connsiteY19" fmla="*/ 7909 h 10015"/>
              <a:gd name="connsiteX20" fmla="*/ 8218 w 10000"/>
              <a:gd name="connsiteY20" fmla="*/ 8974 h 10015"/>
              <a:gd name="connsiteX21" fmla="*/ 8097 w 10000"/>
              <a:gd name="connsiteY21" fmla="*/ 9990 h 10015"/>
              <a:gd name="connsiteX22" fmla="*/ 7400 w 10000"/>
              <a:gd name="connsiteY22" fmla="*/ 9723 h 10015"/>
              <a:gd name="connsiteX23" fmla="*/ 1502 w 10000"/>
              <a:gd name="connsiteY23" fmla="*/ 9935 h 10015"/>
              <a:gd name="connsiteX24" fmla="*/ 1428 w 10000"/>
              <a:gd name="connsiteY24" fmla="*/ 9460 h 10015"/>
              <a:gd name="connsiteX25" fmla="*/ 1223 w 10000"/>
              <a:gd name="connsiteY25" fmla="*/ 9316 h 10015"/>
              <a:gd name="connsiteX26" fmla="*/ 1120 w 10000"/>
              <a:gd name="connsiteY26" fmla="*/ 8921 h 10015"/>
              <a:gd name="connsiteX27" fmla="*/ 1145 w 10000"/>
              <a:gd name="connsiteY27" fmla="*/ 8439 h 10015"/>
              <a:gd name="connsiteX28" fmla="*/ 1167 w 10000"/>
              <a:gd name="connsiteY28" fmla="*/ 8061 h 10015"/>
              <a:gd name="connsiteX29" fmla="*/ 1246 w 10000"/>
              <a:gd name="connsiteY29" fmla="*/ 7600 h 10015"/>
              <a:gd name="connsiteX30" fmla="*/ 1173 w 10000"/>
              <a:gd name="connsiteY30" fmla="*/ 7178 h 10015"/>
              <a:gd name="connsiteX31" fmla="*/ 1051 w 10000"/>
              <a:gd name="connsiteY31" fmla="*/ 6758 h 10015"/>
              <a:gd name="connsiteX32" fmla="*/ 1062 w 10000"/>
              <a:gd name="connsiteY32" fmla="*/ 6382 h 10015"/>
              <a:gd name="connsiteX33" fmla="*/ 1062 w 10000"/>
              <a:gd name="connsiteY33" fmla="*/ 6277 h 10015"/>
              <a:gd name="connsiteX34" fmla="*/ 838 w 10000"/>
              <a:gd name="connsiteY34" fmla="*/ 5455 h 10015"/>
              <a:gd name="connsiteX35" fmla="*/ 696 w 10000"/>
              <a:gd name="connsiteY35" fmla="*/ 4471 h 10015"/>
              <a:gd name="connsiteX36" fmla="*/ 543 w 10000"/>
              <a:gd name="connsiteY36" fmla="*/ 3858 h 10015"/>
              <a:gd name="connsiteX37" fmla="*/ 521 w 10000"/>
              <a:gd name="connsiteY37" fmla="*/ 3389 h 10015"/>
              <a:gd name="connsiteX38" fmla="*/ 0 w 10000"/>
              <a:gd name="connsiteY38" fmla="*/ 2563 h 10015"/>
              <a:gd name="connsiteX39" fmla="*/ 477 w 10000"/>
              <a:gd name="connsiteY39" fmla="*/ 1977 h 10015"/>
              <a:gd name="connsiteX40" fmla="*/ 477 w 10000"/>
              <a:gd name="connsiteY40" fmla="*/ 1713 h 10015"/>
              <a:gd name="connsiteX41" fmla="*/ 477 w 10000"/>
              <a:gd name="connsiteY41" fmla="*/ 915 h 10015"/>
              <a:gd name="connsiteX42" fmla="*/ 715 w 10000"/>
              <a:gd name="connsiteY42" fmla="*/ 127 h 10015"/>
              <a:gd name="connsiteX43" fmla="*/ 4777 w 10000"/>
              <a:gd name="connsiteY43" fmla="*/ 162 h 10015"/>
              <a:gd name="connsiteX44" fmla="*/ 8448 w 10000"/>
              <a:gd name="connsiteY44" fmla="*/ 0 h 10015"/>
              <a:gd name="connsiteX0" fmla="*/ 8448 w 10000"/>
              <a:gd name="connsiteY0" fmla="*/ 0 h 10015"/>
              <a:gd name="connsiteX1" fmla="*/ 8570 w 10000"/>
              <a:gd name="connsiteY1" fmla="*/ 375 h 10015"/>
              <a:gd name="connsiteX2" fmla="*/ 8682 w 10000"/>
              <a:gd name="connsiteY2" fmla="*/ 915 h 10015"/>
              <a:gd name="connsiteX3" fmla="*/ 8631 w 10000"/>
              <a:gd name="connsiteY3" fmla="*/ 1221 h 10015"/>
              <a:gd name="connsiteX4" fmla="*/ 8426 w 10000"/>
              <a:gd name="connsiteY4" fmla="*/ 1923 h 10015"/>
              <a:gd name="connsiteX5" fmla="*/ 8537 w 10000"/>
              <a:gd name="connsiteY5" fmla="*/ 2189 h 10015"/>
              <a:gd name="connsiteX6" fmla="*/ 8572 w 10000"/>
              <a:gd name="connsiteY6" fmla="*/ 2510 h 10015"/>
              <a:gd name="connsiteX7" fmla="*/ 8976 w 10000"/>
              <a:gd name="connsiteY7" fmla="*/ 3039 h 10015"/>
              <a:gd name="connsiteX8" fmla="*/ 9458 w 10000"/>
              <a:gd name="connsiteY8" fmla="*/ 3370 h 10015"/>
              <a:gd name="connsiteX9" fmla="*/ 9561 w 10000"/>
              <a:gd name="connsiteY9" fmla="*/ 3995 h 10015"/>
              <a:gd name="connsiteX10" fmla="*/ 9743 w 10000"/>
              <a:gd name="connsiteY10" fmla="*/ 4365 h 10015"/>
              <a:gd name="connsiteX11" fmla="*/ 9890 w 10000"/>
              <a:gd name="connsiteY11" fmla="*/ 4632 h 10015"/>
              <a:gd name="connsiteX12" fmla="*/ 10000 w 10000"/>
              <a:gd name="connsiteY12" fmla="*/ 5427 h 10015"/>
              <a:gd name="connsiteX13" fmla="*/ 9781 w 10000"/>
              <a:gd name="connsiteY13" fmla="*/ 5903 h 10015"/>
              <a:gd name="connsiteX14" fmla="*/ 9670 w 10000"/>
              <a:gd name="connsiteY14" fmla="*/ 6170 h 10015"/>
              <a:gd name="connsiteX15" fmla="*/ 9670 w 10000"/>
              <a:gd name="connsiteY15" fmla="*/ 6647 h 10015"/>
              <a:gd name="connsiteX16" fmla="*/ 9233 w 10000"/>
              <a:gd name="connsiteY16" fmla="*/ 6593 h 10015"/>
              <a:gd name="connsiteX17" fmla="*/ 8902 w 10000"/>
              <a:gd name="connsiteY17" fmla="*/ 6859 h 10015"/>
              <a:gd name="connsiteX18" fmla="*/ 8667 w 10000"/>
              <a:gd name="connsiteY18" fmla="*/ 6896 h 10015"/>
              <a:gd name="connsiteX19" fmla="*/ 8813 w 10000"/>
              <a:gd name="connsiteY19" fmla="*/ 7909 h 10015"/>
              <a:gd name="connsiteX20" fmla="*/ 8218 w 10000"/>
              <a:gd name="connsiteY20" fmla="*/ 8974 h 10015"/>
              <a:gd name="connsiteX21" fmla="*/ 8097 w 10000"/>
              <a:gd name="connsiteY21" fmla="*/ 9990 h 10015"/>
              <a:gd name="connsiteX22" fmla="*/ 7400 w 10000"/>
              <a:gd name="connsiteY22" fmla="*/ 9723 h 10015"/>
              <a:gd name="connsiteX23" fmla="*/ 1502 w 10000"/>
              <a:gd name="connsiteY23" fmla="*/ 9935 h 10015"/>
              <a:gd name="connsiteX24" fmla="*/ 1428 w 10000"/>
              <a:gd name="connsiteY24" fmla="*/ 9460 h 10015"/>
              <a:gd name="connsiteX25" fmla="*/ 1223 w 10000"/>
              <a:gd name="connsiteY25" fmla="*/ 9316 h 10015"/>
              <a:gd name="connsiteX26" fmla="*/ 1120 w 10000"/>
              <a:gd name="connsiteY26" fmla="*/ 8921 h 10015"/>
              <a:gd name="connsiteX27" fmla="*/ 1145 w 10000"/>
              <a:gd name="connsiteY27" fmla="*/ 8439 h 10015"/>
              <a:gd name="connsiteX28" fmla="*/ 1167 w 10000"/>
              <a:gd name="connsiteY28" fmla="*/ 8061 h 10015"/>
              <a:gd name="connsiteX29" fmla="*/ 1246 w 10000"/>
              <a:gd name="connsiteY29" fmla="*/ 7600 h 10015"/>
              <a:gd name="connsiteX30" fmla="*/ 1173 w 10000"/>
              <a:gd name="connsiteY30" fmla="*/ 7178 h 10015"/>
              <a:gd name="connsiteX31" fmla="*/ 1051 w 10000"/>
              <a:gd name="connsiteY31" fmla="*/ 6758 h 10015"/>
              <a:gd name="connsiteX32" fmla="*/ 1062 w 10000"/>
              <a:gd name="connsiteY32" fmla="*/ 6382 h 10015"/>
              <a:gd name="connsiteX33" fmla="*/ 1062 w 10000"/>
              <a:gd name="connsiteY33" fmla="*/ 6277 h 10015"/>
              <a:gd name="connsiteX34" fmla="*/ 838 w 10000"/>
              <a:gd name="connsiteY34" fmla="*/ 5455 h 10015"/>
              <a:gd name="connsiteX35" fmla="*/ 696 w 10000"/>
              <a:gd name="connsiteY35" fmla="*/ 4471 h 10015"/>
              <a:gd name="connsiteX36" fmla="*/ 543 w 10000"/>
              <a:gd name="connsiteY36" fmla="*/ 3858 h 10015"/>
              <a:gd name="connsiteX37" fmla="*/ 521 w 10000"/>
              <a:gd name="connsiteY37" fmla="*/ 3389 h 10015"/>
              <a:gd name="connsiteX38" fmla="*/ 0 w 10000"/>
              <a:gd name="connsiteY38" fmla="*/ 2563 h 10015"/>
              <a:gd name="connsiteX39" fmla="*/ 477 w 10000"/>
              <a:gd name="connsiteY39" fmla="*/ 1977 h 10015"/>
              <a:gd name="connsiteX40" fmla="*/ 477 w 10000"/>
              <a:gd name="connsiteY40" fmla="*/ 1713 h 10015"/>
              <a:gd name="connsiteX41" fmla="*/ 477 w 10000"/>
              <a:gd name="connsiteY41" fmla="*/ 915 h 10015"/>
              <a:gd name="connsiteX42" fmla="*/ 715 w 10000"/>
              <a:gd name="connsiteY42" fmla="*/ 127 h 10015"/>
              <a:gd name="connsiteX43" fmla="*/ 4777 w 10000"/>
              <a:gd name="connsiteY43" fmla="*/ 162 h 10015"/>
              <a:gd name="connsiteX44" fmla="*/ 8448 w 10000"/>
              <a:gd name="connsiteY44" fmla="*/ 0 h 10015"/>
              <a:gd name="connsiteX0" fmla="*/ 8448 w 10000"/>
              <a:gd name="connsiteY0" fmla="*/ 0 h 10015"/>
              <a:gd name="connsiteX1" fmla="*/ 8570 w 10000"/>
              <a:gd name="connsiteY1" fmla="*/ 375 h 10015"/>
              <a:gd name="connsiteX2" fmla="*/ 8682 w 10000"/>
              <a:gd name="connsiteY2" fmla="*/ 915 h 10015"/>
              <a:gd name="connsiteX3" fmla="*/ 8631 w 10000"/>
              <a:gd name="connsiteY3" fmla="*/ 1221 h 10015"/>
              <a:gd name="connsiteX4" fmla="*/ 8426 w 10000"/>
              <a:gd name="connsiteY4" fmla="*/ 1923 h 10015"/>
              <a:gd name="connsiteX5" fmla="*/ 8537 w 10000"/>
              <a:gd name="connsiteY5" fmla="*/ 2189 h 10015"/>
              <a:gd name="connsiteX6" fmla="*/ 8572 w 10000"/>
              <a:gd name="connsiteY6" fmla="*/ 2510 h 10015"/>
              <a:gd name="connsiteX7" fmla="*/ 8976 w 10000"/>
              <a:gd name="connsiteY7" fmla="*/ 3039 h 10015"/>
              <a:gd name="connsiteX8" fmla="*/ 9458 w 10000"/>
              <a:gd name="connsiteY8" fmla="*/ 3370 h 10015"/>
              <a:gd name="connsiteX9" fmla="*/ 9561 w 10000"/>
              <a:gd name="connsiteY9" fmla="*/ 3995 h 10015"/>
              <a:gd name="connsiteX10" fmla="*/ 9743 w 10000"/>
              <a:gd name="connsiteY10" fmla="*/ 4365 h 10015"/>
              <a:gd name="connsiteX11" fmla="*/ 9890 w 10000"/>
              <a:gd name="connsiteY11" fmla="*/ 4632 h 10015"/>
              <a:gd name="connsiteX12" fmla="*/ 10000 w 10000"/>
              <a:gd name="connsiteY12" fmla="*/ 5427 h 10015"/>
              <a:gd name="connsiteX13" fmla="*/ 9781 w 10000"/>
              <a:gd name="connsiteY13" fmla="*/ 5903 h 10015"/>
              <a:gd name="connsiteX14" fmla="*/ 9670 w 10000"/>
              <a:gd name="connsiteY14" fmla="*/ 6170 h 10015"/>
              <a:gd name="connsiteX15" fmla="*/ 9670 w 10000"/>
              <a:gd name="connsiteY15" fmla="*/ 6647 h 10015"/>
              <a:gd name="connsiteX16" fmla="*/ 9354 w 10000"/>
              <a:gd name="connsiteY16" fmla="*/ 7012 h 10015"/>
              <a:gd name="connsiteX17" fmla="*/ 8902 w 10000"/>
              <a:gd name="connsiteY17" fmla="*/ 6859 h 10015"/>
              <a:gd name="connsiteX18" fmla="*/ 8667 w 10000"/>
              <a:gd name="connsiteY18" fmla="*/ 6896 h 10015"/>
              <a:gd name="connsiteX19" fmla="*/ 8813 w 10000"/>
              <a:gd name="connsiteY19" fmla="*/ 7909 h 10015"/>
              <a:gd name="connsiteX20" fmla="*/ 8218 w 10000"/>
              <a:gd name="connsiteY20" fmla="*/ 8974 h 10015"/>
              <a:gd name="connsiteX21" fmla="*/ 8097 w 10000"/>
              <a:gd name="connsiteY21" fmla="*/ 9990 h 10015"/>
              <a:gd name="connsiteX22" fmla="*/ 7400 w 10000"/>
              <a:gd name="connsiteY22" fmla="*/ 9723 h 10015"/>
              <a:gd name="connsiteX23" fmla="*/ 1502 w 10000"/>
              <a:gd name="connsiteY23" fmla="*/ 9935 h 10015"/>
              <a:gd name="connsiteX24" fmla="*/ 1428 w 10000"/>
              <a:gd name="connsiteY24" fmla="*/ 9460 h 10015"/>
              <a:gd name="connsiteX25" fmla="*/ 1223 w 10000"/>
              <a:gd name="connsiteY25" fmla="*/ 9316 h 10015"/>
              <a:gd name="connsiteX26" fmla="*/ 1120 w 10000"/>
              <a:gd name="connsiteY26" fmla="*/ 8921 h 10015"/>
              <a:gd name="connsiteX27" fmla="*/ 1145 w 10000"/>
              <a:gd name="connsiteY27" fmla="*/ 8439 h 10015"/>
              <a:gd name="connsiteX28" fmla="*/ 1167 w 10000"/>
              <a:gd name="connsiteY28" fmla="*/ 8061 h 10015"/>
              <a:gd name="connsiteX29" fmla="*/ 1246 w 10000"/>
              <a:gd name="connsiteY29" fmla="*/ 7600 h 10015"/>
              <a:gd name="connsiteX30" fmla="*/ 1173 w 10000"/>
              <a:gd name="connsiteY30" fmla="*/ 7178 h 10015"/>
              <a:gd name="connsiteX31" fmla="*/ 1051 w 10000"/>
              <a:gd name="connsiteY31" fmla="*/ 6758 h 10015"/>
              <a:gd name="connsiteX32" fmla="*/ 1062 w 10000"/>
              <a:gd name="connsiteY32" fmla="*/ 6382 h 10015"/>
              <a:gd name="connsiteX33" fmla="*/ 1062 w 10000"/>
              <a:gd name="connsiteY33" fmla="*/ 6277 h 10015"/>
              <a:gd name="connsiteX34" fmla="*/ 838 w 10000"/>
              <a:gd name="connsiteY34" fmla="*/ 5455 h 10015"/>
              <a:gd name="connsiteX35" fmla="*/ 696 w 10000"/>
              <a:gd name="connsiteY35" fmla="*/ 4471 h 10015"/>
              <a:gd name="connsiteX36" fmla="*/ 543 w 10000"/>
              <a:gd name="connsiteY36" fmla="*/ 3858 h 10015"/>
              <a:gd name="connsiteX37" fmla="*/ 521 w 10000"/>
              <a:gd name="connsiteY37" fmla="*/ 3389 h 10015"/>
              <a:gd name="connsiteX38" fmla="*/ 0 w 10000"/>
              <a:gd name="connsiteY38" fmla="*/ 2563 h 10015"/>
              <a:gd name="connsiteX39" fmla="*/ 477 w 10000"/>
              <a:gd name="connsiteY39" fmla="*/ 1977 h 10015"/>
              <a:gd name="connsiteX40" fmla="*/ 477 w 10000"/>
              <a:gd name="connsiteY40" fmla="*/ 1713 h 10015"/>
              <a:gd name="connsiteX41" fmla="*/ 477 w 10000"/>
              <a:gd name="connsiteY41" fmla="*/ 915 h 10015"/>
              <a:gd name="connsiteX42" fmla="*/ 715 w 10000"/>
              <a:gd name="connsiteY42" fmla="*/ 127 h 10015"/>
              <a:gd name="connsiteX43" fmla="*/ 4777 w 10000"/>
              <a:gd name="connsiteY43" fmla="*/ 162 h 10015"/>
              <a:gd name="connsiteX44" fmla="*/ 8448 w 10000"/>
              <a:gd name="connsiteY44" fmla="*/ 0 h 10015"/>
              <a:gd name="connsiteX0" fmla="*/ 8448 w 10000"/>
              <a:gd name="connsiteY0" fmla="*/ 0 h 10007"/>
              <a:gd name="connsiteX1" fmla="*/ 8570 w 10000"/>
              <a:gd name="connsiteY1" fmla="*/ 375 h 10007"/>
              <a:gd name="connsiteX2" fmla="*/ 8682 w 10000"/>
              <a:gd name="connsiteY2" fmla="*/ 915 h 10007"/>
              <a:gd name="connsiteX3" fmla="*/ 8631 w 10000"/>
              <a:gd name="connsiteY3" fmla="*/ 1221 h 10007"/>
              <a:gd name="connsiteX4" fmla="*/ 8426 w 10000"/>
              <a:gd name="connsiteY4" fmla="*/ 1923 h 10007"/>
              <a:gd name="connsiteX5" fmla="*/ 8537 w 10000"/>
              <a:gd name="connsiteY5" fmla="*/ 2189 h 10007"/>
              <a:gd name="connsiteX6" fmla="*/ 8572 w 10000"/>
              <a:gd name="connsiteY6" fmla="*/ 2510 h 10007"/>
              <a:gd name="connsiteX7" fmla="*/ 8976 w 10000"/>
              <a:gd name="connsiteY7" fmla="*/ 3039 h 10007"/>
              <a:gd name="connsiteX8" fmla="*/ 9458 w 10000"/>
              <a:gd name="connsiteY8" fmla="*/ 3370 h 10007"/>
              <a:gd name="connsiteX9" fmla="*/ 9561 w 10000"/>
              <a:gd name="connsiteY9" fmla="*/ 3995 h 10007"/>
              <a:gd name="connsiteX10" fmla="*/ 9743 w 10000"/>
              <a:gd name="connsiteY10" fmla="*/ 4365 h 10007"/>
              <a:gd name="connsiteX11" fmla="*/ 9890 w 10000"/>
              <a:gd name="connsiteY11" fmla="*/ 4632 h 10007"/>
              <a:gd name="connsiteX12" fmla="*/ 10000 w 10000"/>
              <a:gd name="connsiteY12" fmla="*/ 5427 h 10007"/>
              <a:gd name="connsiteX13" fmla="*/ 9781 w 10000"/>
              <a:gd name="connsiteY13" fmla="*/ 5903 h 10007"/>
              <a:gd name="connsiteX14" fmla="*/ 9670 w 10000"/>
              <a:gd name="connsiteY14" fmla="*/ 6170 h 10007"/>
              <a:gd name="connsiteX15" fmla="*/ 9670 w 10000"/>
              <a:gd name="connsiteY15" fmla="*/ 6647 h 10007"/>
              <a:gd name="connsiteX16" fmla="*/ 9354 w 10000"/>
              <a:gd name="connsiteY16" fmla="*/ 7012 h 10007"/>
              <a:gd name="connsiteX17" fmla="*/ 8902 w 10000"/>
              <a:gd name="connsiteY17" fmla="*/ 6859 h 10007"/>
              <a:gd name="connsiteX18" fmla="*/ 8667 w 10000"/>
              <a:gd name="connsiteY18" fmla="*/ 6896 h 10007"/>
              <a:gd name="connsiteX19" fmla="*/ 8813 w 10000"/>
              <a:gd name="connsiteY19" fmla="*/ 7909 h 10007"/>
              <a:gd name="connsiteX20" fmla="*/ 8218 w 10000"/>
              <a:gd name="connsiteY20" fmla="*/ 8974 h 10007"/>
              <a:gd name="connsiteX21" fmla="*/ 8097 w 10000"/>
              <a:gd name="connsiteY21" fmla="*/ 9990 h 10007"/>
              <a:gd name="connsiteX22" fmla="*/ 7496 w 10000"/>
              <a:gd name="connsiteY22" fmla="*/ 9505 h 10007"/>
              <a:gd name="connsiteX23" fmla="*/ 1502 w 10000"/>
              <a:gd name="connsiteY23" fmla="*/ 9935 h 10007"/>
              <a:gd name="connsiteX24" fmla="*/ 1428 w 10000"/>
              <a:gd name="connsiteY24" fmla="*/ 9460 h 10007"/>
              <a:gd name="connsiteX25" fmla="*/ 1223 w 10000"/>
              <a:gd name="connsiteY25" fmla="*/ 9316 h 10007"/>
              <a:gd name="connsiteX26" fmla="*/ 1120 w 10000"/>
              <a:gd name="connsiteY26" fmla="*/ 8921 h 10007"/>
              <a:gd name="connsiteX27" fmla="*/ 1145 w 10000"/>
              <a:gd name="connsiteY27" fmla="*/ 8439 h 10007"/>
              <a:gd name="connsiteX28" fmla="*/ 1167 w 10000"/>
              <a:gd name="connsiteY28" fmla="*/ 8061 h 10007"/>
              <a:gd name="connsiteX29" fmla="*/ 1246 w 10000"/>
              <a:gd name="connsiteY29" fmla="*/ 7600 h 10007"/>
              <a:gd name="connsiteX30" fmla="*/ 1173 w 10000"/>
              <a:gd name="connsiteY30" fmla="*/ 7178 h 10007"/>
              <a:gd name="connsiteX31" fmla="*/ 1051 w 10000"/>
              <a:gd name="connsiteY31" fmla="*/ 6758 h 10007"/>
              <a:gd name="connsiteX32" fmla="*/ 1062 w 10000"/>
              <a:gd name="connsiteY32" fmla="*/ 6382 h 10007"/>
              <a:gd name="connsiteX33" fmla="*/ 1062 w 10000"/>
              <a:gd name="connsiteY33" fmla="*/ 6277 h 10007"/>
              <a:gd name="connsiteX34" fmla="*/ 838 w 10000"/>
              <a:gd name="connsiteY34" fmla="*/ 5455 h 10007"/>
              <a:gd name="connsiteX35" fmla="*/ 696 w 10000"/>
              <a:gd name="connsiteY35" fmla="*/ 4471 h 10007"/>
              <a:gd name="connsiteX36" fmla="*/ 543 w 10000"/>
              <a:gd name="connsiteY36" fmla="*/ 3858 h 10007"/>
              <a:gd name="connsiteX37" fmla="*/ 521 w 10000"/>
              <a:gd name="connsiteY37" fmla="*/ 3389 h 10007"/>
              <a:gd name="connsiteX38" fmla="*/ 0 w 10000"/>
              <a:gd name="connsiteY38" fmla="*/ 2563 h 10007"/>
              <a:gd name="connsiteX39" fmla="*/ 477 w 10000"/>
              <a:gd name="connsiteY39" fmla="*/ 1977 h 10007"/>
              <a:gd name="connsiteX40" fmla="*/ 477 w 10000"/>
              <a:gd name="connsiteY40" fmla="*/ 1713 h 10007"/>
              <a:gd name="connsiteX41" fmla="*/ 477 w 10000"/>
              <a:gd name="connsiteY41" fmla="*/ 915 h 10007"/>
              <a:gd name="connsiteX42" fmla="*/ 715 w 10000"/>
              <a:gd name="connsiteY42" fmla="*/ 127 h 10007"/>
              <a:gd name="connsiteX43" fmla="*/ 4777 w 10000"/>
              <a:gd name="connsiteY43" fmla="*/ 162 h 10007"/>
              <a:gd name="connsiteX44" fmla="*/ 8448 w 10000"/>
              <a:gd name="connsiteY44" fmla="*/ 0 h 10007"/>
              <a:gd name="connsiteX0" fmla="*/ 8448 w 10000"/>
              <a:gd name="connsiteY0" fmla="*/ 0 h 10007"/>
              <a:gd name="connsiteX1" fmla="*/ 8570 w 10000"/>
              <a:gd name="connsiteY1" fmla="*/ 375 h 10007"/>
              <a:gd name="connsiteX2" fmla="*/ 8682 w 10000"/>
              <a:gd name="connsiteY2" fmla="*/ 915 h 10007"/>
              <a:gd name="connsiteX3" fmla="*/ 8631 w 10000"/>
              <a:gd name="connsiteY3" fmla="*/ 1221 h 10007"/>
              <a:gd name="connsiteX4" fmla="*/ 8426 w 10000"/>
              <a:gd name="connsiteY4" fmla="*/ 1923 h 10007"/>
              <a:gd name="connsiteX5" fmla="*/ 8537 w 10000"/>
              <a:gd name="connsiteY5" fmla="*/ 2189 h 10007"/>
              <a:gd name="connsiteX6" fmla="*/ 8572 w 10000"/>
              <a:gd name="connsiteY6" fmla="*/ 2510 h 10007"/>
              <a:gd name="connsiteX7" fmla="*/ 8976 w 10000"/>
              <a:gd name="connsiteY7" fmla="*/ 3039 h 10007"/>
              <a:gd name="connsiteX8" fmla="*/ 9458 w 10000"/>
              <a:gd name="connsiteY8" fmla="*/ 3370 h 10007"/>
              <a:gd name="connsiteX9" fmla="*/ 9561 w 10000"/>
              <a:gd name="connsiteY9" fmla="*/ 3995 h 10007"/>
              <a:gd name="connsiteX10" fmla="*/ 9743 w 10000"/>
              <a:gd name="connsiteY10" fmla="*/ 4365 h 10007"/>
              <a:gd name="connsiteX11" fmla="*/ 9890 w 10000"/>
              <a:gd name="connsiteY11" fmla="*/ 4632 h 10007"/>
              <a:gd name="connsiteX12" fmla="*/ 10000 w 10000"/>
              <a:gd name="connsiteY12" fmla="*/ 5427 h 10007"/>
              <a:gd name="connsiteX13" fmla="*/ 9781 w 10000"/>
              <a:gd name="connsiteY13" fmla="*/ 5903 h 10007"/>
              <a:gd name="connsiteX14" fmla="*/ 9670 w 10000"/>
              <a:gd name="connsiteY14" fmla="*/ 6170 h 10007"/>
              <a:gd name="connsiteX15" fmla="*/ 9670 w 10000"/>
              <a:gd name="connsiteY15" fmla="*/ 6647 h 10007"/>
              <a:gd name="connsiteX16" fmla="*/ 9354 w 10000"/>
              <a:gd name="connsiteY16" fmla="*/ 7012 h 10007"/>
              <a:gd name="connsiteX17" fmla="*/ 8902 w 10000"/>
              <a:gd name="connsiteY17" fmla="*/ 6859 h 10007"/>
              <a:gd name="connsiteX18" fmla="*/ 8667 w 10000"/>
              <a:gd name="connsiteY18" fmla="*/ 6896 h 10007"/>
              <a:gd name="connsiteX19" fmla="*/ 8813 w 10000"/>
              <a:gd name="connsiteY19" fmla="*/ 7909 h 10007"/>
              <a:gd name="connsiteX20" fmla="*/ 8218 w 10000"/>
              <a:gd name="connsiteY20" fmla="*/ 8974 h 10007"/>
              <a:gd name="connsiteX21" fmla="*/ 8097 w 10000"/>
              <a:gd name="connsiteY21" fmla="*/ 9990 h 10007"/>
              <a:gd name="connsiteX22" fmla="*/ 7496 w 10000"/>
              <a:gd name="connsiteY22" fmla="*/ 9505 h 10007"/>
              <a:gd name="connsiteX23" fmla="*/ 3102 w 10000"/>
              <a:gd name="connsiteY23" fmla="*/ 9416 h 10007"/>
              <a:gd name="connsiteX24" fmla="*/ 1428 w 10000"/>
              <a:gd name="connsiteY24" fmla="*/ 9460 h 10007"/>
              <a:gd name="connsiteX25" fmla="*/ 1223 w 10000"/>
              <a:gd name="connsiteY25" fmla="*/ 9316 h 10007"/>
              <a:gd name="connsiteX26" fmla="*/ 1120 w 10000"/>
              <a:gd name="connsiteY26" fmla="*/ 8921 h 10007"/>
              <a:gd name="connsiteX27" fmla="*/ 1145 w 10000"/>
              <a:gd name="connsiteY27" fmla="*/ 8439 h 10007"/>
              <a:gd name="connsiteX28" fmla="*/ 1167 w 10000"/>
              <a:gd name="connsiteY28" fmla="*/ 8061 h 10007"/>
              <a:gd name="connsiteX29" fmla="*/ 1246 w 10000"/>
              <a:gd name="connsiteY29" fmla="*/ 7600 h 10007"/>
              <a:gd name="connsiteX30" fmla="*/ 1173 w 10000"/>
              <a:gd name="connsiteY30" fmla="*/ 7178 h 10007"/>
              <a:gd name="connsiteX31" fmla="*/ 1051 w 10000"/>
              <a:gd name="connsiteY31" fmla="*/ 6758 h 10007"/>
              <a:gd name="connsiteX32" fmla="*/ 1062 w 10000"/>
              <a:gd name="connsiteY32" fmla="*/ 6382 h 10007"/>
              <a:gd name="connsiteX33" fmla="*/ 1062 w 10000"/>
              <a:gd name="connsiteY33" fmla="*/ 6277 h 10007"/>
              <a:gd name="connsiteX34" fmla="*/ 838 w 10000"/>
              <a:gd name="connsiteY34" fmla="*/ 5455 h 10007"/>
              <a:gd name="connsiteX35" fmla="*/ 696 w 10000"/>
              <a:gd name="connsiteY35" fmla="*/ 4471 h 10007"/>
              <a:gd name="connsiteX36" fmla="*/ 543 w 10000"/>
              <a:gd name="connsiteY36" fmla="*/ 3858 h 10007"/>
              <a:gd name="connsiteX37" fmla="*/ 521 w 10000"/>
              <a:gd name="connsiteY37" fmla="*/ 3389 h 10007"/>
              <a:gd name="connsiteX38" fmla="*/ 0 w 10000"/>
              <a:gd name="connsiteY38" fmla="*/ 2563 h 10007"/>
              <a:gd name="connsiteX39" fmla="*/ 477 w 10000"/>
              <a:gd name="connsiteY39" fmla="*/ 1977 h 10007"/>
              <a:gd name="connsiteX40" fmla="*/ 477 w 10000"/>
              <a:gd name="connsiteY40" fmla="*/ 1713 h 10007"/>
              <a:gd name="connsiteX41" fmla="*/ 477 w 10000"/>
              <a:gd name="connsiteY41" fmla="*/ 915 h 10007"/>
              <a:gd name="connsiteX42" fmla="*/ 715 w 10000"/>
              <a:gd name="connsiteY42" fmla="*/ 127 h 10007"/>
              <a:gd name="connsiteX43" fmla="*/ 4777 w 10000"/>
              <a:gd name="connsiteY43" fmla="*/ 162 h 10007"/>
              <a:gd name="connsiteX44" fmla="*/ 8448 w 10000"/>
              <a:gd name="connsiteY44" fmla="*/ 0 h 10007"/>
              <a:gd name="connsiteX0" fmla="*/ 8448 w 10000"/>
              <a:gd name="connsiteY0" fmla="*/ 0 h 10007"/>
              <a:gd name="connsiteX1" fmla="*/ 8570 w 10000"/>
              <a:gd name="connsiteY1" fmla="*/ 375 h 10007"/>
              <a:gd name="connsiteX2" fmla="*/ 8682 w 10000"/>
              <a:gd name="connsiteY2" fmla="*/ 915 h 10007"/>
              <a:gd name="connsiteX3" fmla="*/ 8631 w 10000"/>
              <a:gd name="connsiteY3" fmla="*/ 1221 h 10007"/>
              <a:gd name="connsiteX4" fmla="*/ 8426 w 10000"/>
              <a:gd name="connsiteY4" fmla="*/ 1923 h 10007"/>
              <a:gd name="connsiteX5" fmla="*/ 8537 w 10000"/>
              <a:gd name="connsiteY5" fmla="*/ 2189 h 10007"/>
              <a:gd name="connsiteX6" fmla="*/ 8572 w 10000"/>
              <a:gd name="connsiteY6" fmla="*/ 2510 h 10007"/>
              <a:gd name="connsiteX7" fmla="*/ 8976 w 10000"/>
              <a:gd name="connsiteY7" fmla="*/ 3039 h 10007"/>
              <a:gd name="connsiteX8" fmla="*/ 9458 w 10000"/>
              <a:gd name="connsiteY8" fmla="*/ 3370 h 10007"/>
              <a:gd name="connsiteX9" fmla="*/ 9561 w 10000"/>
              <a:gd name="connsiteY9" fmla="*/ 3995 h 10007"/>
              <a:gd name="connsiteX10" fmla="*/ 9743 w 10000"/>
              <a:gd name="connsiteY10" fmla="*/ 4365 h 10007"/>
              <a:gd name="connsiteX11" fmla="*/ 9890 w 10000"/>
              <a:gd name="connsiteY11" fmla="*/ 4632 h 10007"/>
              <a:gd name="connsiteX12" fmla="*/ 10000 w 10000"/>
              <a:gd name="connsiteY12" fmla="*/ 5427 h 10007"/>
              <a:gd name="connsiteX13" fmla="*/ 9781 w 10000"/>
              <a:gd name="connsiteY13" fmla="*/ 5903 h 10007"/>
              <a:gd name="connsiteX14" fmla="*/ 9670 w 10000"/>
              <a:gd name="connsiteY14" fmla="*/ 6170 h 10007"/>
              <a:gd name="connsiteX15" fmla="*/ 9670 w 10000"/>
              <a:gd name="connsiteY15" fmla="*/ 6647 h 10007"/>
              <a:gd name="connsiteX16" fmla="*/ 9354 w 10000"/>
              <a:gd name="connsiteY16" fmla="*/ 7012 h 10007"/>
              <a:gd name="connsiteX17" fmla="*/ 8902 w 10000"/>
              <a:gd name="connsiteY17" fmla="*/ 6859 h 10007"/>
              <a:gd name="connsiteX18" fmla="*/ 8667 w 10000"/>
              <a:gd name="connsiteY18" fmla="*/ 6896 h 10007"/>
              <a:gd name="connsiteX19" fmla="*/ 8813 w 10000"/>
              <a:gd name="connsiteY19" fmla="*/ 7909 h 10007"/>
              <a:gd name="connsiteX20" fmla="*/ 8218 w 10000"/>
              <a:gd name="connsiteY20" fmla="*/ 8974 h 10007"/>
              <a:gd name="connsiteX21" fmla="*/ 8097 w 10000"/>
              <a:gd name="connsiteY21" fmla="*/ 9990 h 10007"/>
              <a:gd name="connsiteX22" fmla="*/ 7496 w 10000"/>
              <a:gd name="connsiteY22" fmla="*/ 9505 h 10007"/>
              <a:gd name="connsiteX23" fmla="*/ 3102 w 10000"/>
              <a:gd name="connsiteY23" fmla="*/ 9416 h 10007"/>
              <a:gd name="connsiteX24" fmla="*/ 1223 w 10000"/>
              <a:gd name="connsiteY24" fmla="*/ 9316 h 10007"/>
              <a:gd name="connsiteX25" fmla="*/ 1120 w 10000"/>
              <a:gd name="connsiteY25" fmla="*/ 8921 h 10007"/>
              <a:gd name="connsiteX26" fmla="*/ 1145 w 10000"/>
              <a:gd name="connsiteY26" fmla="*/ 8439 h 10007"/>
              <a:gd name="connsiteX27" fmla="*/ 1167 w 10000"/>
              <a:gd name="connsiteY27" fmla="*/ 8061 h 10007"/>
              <a:gd name="connsiteX28" fmla="*/ 1246 w 10000"/>
              <a:gd name="connsiteY28" fmla="*/ 7600 h 10007"/>
              <a:gd name="connsiteX29" fmla="*/ 1173 w 10000"/>
              <a:gd name="connsiteY29" fmla="*/ 7178 h 10007"/>
              <a:gd name="connsiteX30" fmla="*/ 1051 w 10000"/>
              <a:gd name="connsiteY30" fmla="*/ 6758 h 10007"/>
              <a:gd name="connsiteX31" fmla="*/ 1062 w 10000"/>
              <a:gd name="connsiteY31" fmla="*/ 6382 h 10007"/>
              <a:gd name="connsiteX32" fmla="*/ 1062 w 10000"/>
              <a:gd name="connsiteY32" fmla="*/ 6277 h 10007"/>
              <a:gd name="connsiteX33" fmla="*/ 838 w 10000"/>
              <a:gd name="connsiteY33" fmla="*/ 5455 h 10007"/>
              <a:gd name="connsiteX34" fmla="*/ 696 w 10000"/>
              <a:gd name="connsiteY34" fmla="*/ 4471 h 10007"/>
              <a:gd name="connsiteX35" fmla="*/ 543 w 10000"/>
              <a:gd name="connsiteY35" fmla="*/ 3858 h 10007"/>
              <a:gd name="connsiteX36" fmla="*/ 521 w 10000"/>
              <a:gd name="connsiteY36" fmla="*/ 3389 h 10007"/>
              <a:gd name="connsiteX37" fmla="*/ 0 w 10000"/>
              <a:gd name="connsiteY37" fmla="*/ 2563 h 10007"/>
              <a:gd name="connsiteX38" fmla="*/ 477 w 10000"/>
              <a:gd name="connsiteY38" fmla="*/ 1977 h 10007"/>
              <a:gd name="connsiteX39" fmla="*/ 477 w 10000"/>
              <a:gd name="connsiteY39" fmla="*/ 1713 h 10007"/>
              <a:gd name="connsiteX40" fmla="*/ 477 w 10000"/>
              <a:gd name="connsiteY40" fmla="*/ 915 h 10007"/>
              <a:gd name="connsiteX41" fmla="*/ 715 w 10000"/>
              <a:gd name="connsiteY41" fmla="*/ 127 h 10007"/>
              <a:gd name="connsiteX42" fmla="*/ 4777 w 10000"/>
              <a:gd name="connsiteY42" fmla="*/ 162 h 10007"/>
              <a:gd name="connsiteX43" fmla="*/ 8448 w 10000"/>
              <a:gd name="connsiteY43" fmla="*/ 0 h 10007"/>
              <a:gd name="connsiteX0" fmla="*/ 8448 w 10000"/>
              <a:gd name="connsiteY0" fmla="*/ 0 h 9505"/>
              <a:gd name="connsiteX1" fmla="*/ 8570 w 10000"/>
              <a:gd name="connsiteY1" fmla="*/ 375 h 9505"/>
              <a:gd name="connsiteX2" fmla="*/ 8682 w 10000"/>
              <a:gd name="connsiteY2" fmla="*/ 915 h 9505"/>
              <a:gd name="connsiteX3" fmla="*/ 8631 w 10000"/>
              <a:gd name="connsiteY3" fmla="*/ 1221 h 9505"/>
              <a:gd name="connsiteX4" fmla="*/ 8426 w 10000"/>
              <a:gd name="connsiteY4" fmla="*/ 1923 h 9505"/>
              <a:gd name="connsiteX5" fmla="*/ 8537 w 10000"/>
              <a:gd name="connsiteY5" fmla="*/ 2189 h 9505"/>
              <a:gd name="connsiteX6" fmla="*/ 8572 w 10000"/>
              <a:gd name="connsiteY6" fmla="*/ 2510 h 9505"/>
              <a:gd name="connsiteX7" fmla="*/ 8976 w 10000"/>
              <a:gd name="connsiteY7" fmla="*/ 3039 h 9505"/>
              <a:gd name="connsiteX8" fmla="*/ 9458 w 10000"/>
              <a:gd name="connsiteY8" fmla="*/ 3370 h 9505"/>
              <a:gd name="connsiteX9" fmla="*/ 9561 w 10000"/>
              <a:gd name="connsiteY9" fmla="*/ 3995 h 9505"/>
              <a:gd name="connsiteX10" fmla="*/ 9743 w 10000"/>
              <a:gd name="connsiteY10" fmla="*/ 4365 h 9505"/>
              <a:gd name="connsiteX11" fmla="*/ 9890 w 10000"/>
              <a:gd name="connsiteY11" fmla="*/ 4632 h 9505"/>
              <a:gd name="connsiteX12" fmla="*/ 10000 w 10000"/>
              <a:gd name="connsiteY12" fmla="*/ 5427 h 9505"/>
              <a:gd name="connsiteX13" fmla="*/ 9781 w 10000"/>
              <a:gd name="connsiteY13" fmla="*/ 5903 h 9505"/>
              <a:gd name="connsiteX14" fmla="*/ 9670 w 10000"/>
              <a:gd name="connsiteY14" fmla="*/ 6170 h 9505"/>
              <a:gd name="connsiteX15" fmla="*/ 9670 w 10000"/>
              <a:gd name="connsiteY15" fmla="*/ 6647 h 9505"/>
              <a:gd name="connsiteX16" fmla="*/ 9354 w 10000"/>
              <a:gd name="connsiteY16" fmla="*/ 7012 h 9505"/>
              <a:gd name="connsiteX17" fmla="*/ 8902 w 10000"/>
              <a:gd name="connsiteY17" fmla="*/ 6859 h 9505"/>
              <a:gd name="connsiteX18" fmla="*/ 8667 w 10000"/>
              <a:gd name="connsiteY18" fmla="*/ 6896 h 9505"/>
              <a:gd name="connsiteX19" fmla="*/ 8813 w 10000"/>
              <a:gd name="connsiteY19" fmla="*/ 7909 h 9505"/>
              <a:gd name="connsiteX20" fmla="*/ 8218 w 10000"/>
              <a:gd name="connsiteY20" fmla="*/ 8974 h 9505"/>
              <a:gd name="connsiteX21" fmla="*/ 7496 w 10000"/>
              <a:gd name="connsiteY21" fmla="*/ 9505 h 9505"/>
              <a:gd name="connsiteX22" fmla="*/ 3102 w 10000"/>
              <a:gd name="connsiteY22" fmla="*/ 9416 h 9505"/>
              <a:gd name="connsiteX23" fmla="*/ 1223 w 10000"/>
              <a:gd name="connsiteY23" fmla="*/ 9316 h 9505"/>
              <a:gd name="connsiteX24" fmla="*/ 1120 w 10000"/>
              <a:gd name="connsiteY24" fmla="*/ 8921 h 9505"/>
              <a:gd name="connsiteX25" fmla="*/ 1145 w 10000"/>
              <a:gd name="connsiteY25" fmla="*/ 8439 h 9505"/>
              <a:gd name="connsiteX26" fmla="*/ 1167 w 10000"/>
              <a:gd name="connsiteY26" fmla="*/ 8061 h 9505"/>
              <a:gd name="connsiteX27" fmla="*/ 1246 w 10000"/>
              <a:gd name="connsiteY27" fmla="*/ 7600 h 9505"/>
              <a:gd name="connsiteX28" fmla="*/ 1173 w 10000"/>
              <a:gd name="connsiteY28" fmla="*/ 7178 h 9505"/>
              <a:gd name="connsiteX29" fmla="*/ 1051 w 10000"/>
              <a:gd name="connsiteY29" fmla="*/ 6758 h 9505"/>
              <a:gd name="connsiteX30" fmla="*/ 1062 w 10000"/>
              <a:gd name="connsiteY30" fmla="*/ 6382 h 9505"/>
              <a:gd name="connsiteX31" fmla="*/ 1062 w 10000"/>
              <a:gd name="connsiteY31" fmla="*/ 6277 h 9505"/>
              <a:gd name="connsiteX32" fmla="*/ 838 w 10000"/>
              <a:gd name="connsiteY32" fmla="*/ 5455 h 9505"/>
              <a:gd name="connsiteX33" fmla="*/ 696 w 10000"/>
              <a:gd name="connsiteY33" fmla="*/ 4471 h 9505"/>
              <a:gd name="connsiteX34" fmla="*/ 543 w 10000"/>
              <a:gd name="connsiteY34" fmla="*/ 3858 h 9505"/>
              <a:gd name="connsiteX35" fmla="*/ 521 w 10000"/>
              <a:gd name="connsiteY35" fmla="*/ 3389 h 9505"/>
              <a:gd name="connsiteX36" fmla="*/ 0 w 10000"/>
              <a:gd name="connsiteY36" fmla="*/ 2563 h 9505"/>
              <a:gd name="connsiteX37" fmla="*/ 477 w 10000"/>
              <a:gd name="connsiteY37" fmla="*/ 1977 h 9505"/>
              <a:gd name="connsiteX38" fmla="*/ 477 w 10000"/>
              <a:gd name="connsiteY38" fmla="*/ 1713 h 9505"/>
              <a:gd name="connsiteX39" fmla="*/ 477 w 10000"/>
              <a:gd name="connsiteY39" fmla="*/ 915 h 9505"/>
              <a:gd name="connsiteX40" fmla="*/ 715 w 10000"/>
              <a:gd name="connsiteY40" fmla="*/ 127 h 9505"/>
              <a:gd name="connsiteX41" fmla="*/ 4777 w 10000"/>
              <a:gd name="connsiteY41" fmla="*/ 162 h 9505"/>
              <a:gd name="connsiteX42" fmla="*/ 8448 w 10000"/>
              <a:gd name="connsiteY42" fmla="*/ 0 h 9505"/>
              <a:gd name="connsiteX0" fmla="*/ 8448 w 10000"/>
              <a:gd name="connsiteY0" fmla="*/ 0 h 10000"/>
              <a:gd name="connsiteX1" fmla="*/ 8570 w 10000"/>
              <a:gd name="connsiteY1" fmla="*/ 395 h 10000"/>
              <a:gd name="connsiteX2" fmla="*/ 8682 w 10000"/>
              <a:gd name="connsiteY2" fmla="*/ 963 h 10000"/>
              <a:gd name="connsiteX3" fmla="*/ 8631 w 10000"/>
              <a:gd name="connsiteY3" fmla="*/ 1285 h 10000"/>
              <a:gd name="connsiteX4" fmla="*/ 8426 w 10000"/>
              <a:gd name="connsiteY4" fmla="*/ 2023 h 10000"/>
              <a:gd name="connsiteX5" fmla="*/ 8537 w 10000"/>
              <a:gd name="connsiteY5" fmla="*/ 2303 h 10000"/>
              <a:gd name="connsiteX6" fmla="*/ 8572 w 10000"/>
              <a:gd name="connsiteY6" fmla="*/ 2641 h 10000"/>
              <a:gd name="connsiteX7" fmla="*/ 8976 w 10000"/>
              <a:gd name="connsiteY7" fmla="*/ 3197 h 10000"/>
              <a:gd name="connsiteX8" fmla="*/ 9458 w 10000"/>
              <a:gd name="connsiteY8" fmla="*/ 3546 h 10000"/>
              <a:gd name="connsiteX9" fmla="*/ 9561 w 10000"/>
              <a:gd name="connsiteY9" fmla="*/ 4203 h 10000"/>
              <a:gd name="connsiteX10" fmla="*/ 9743 w 10000"/>
              <a:gd name="connsiteY10" fmla="*/ 4592 h 10000"/>
              <a:gd name="connsiteX11" fmla="*/ 9890 w 10000"/>
              <a:gd name="connsiteY11" fmla="*/ 4873 h 10000"/>
              <a:gd name="connsiteX12" fmla="*/ 10000 w 10000"/>
              <a:gd name="connsiteY12" fmla="*/ 5710 h 10000"/>
              <a:gd name="connsiteX13" fmla="*/ 9781 w 10000"/>
              <a:gd name="connsiteY13" fmla="*/ 6210 h 10000"/>
              <a:gd name="connsiteX14" fmla="*/ 9670 w 10000"/>
              <a:gd name="connsiteY14" fmla="*/ 6491 h 10000"/>
              <a:gd name="connsiteX15" fmla="*/ 9670 w 10000"/>
              <a:gd name="connsiteY15" fmla="*/ 6993 h 10000"/>
              <a:gd name="connsiteX16" fmla="*/ 9354 w 10000"/>
              <a:gd name="connsiteY16" fmla="*/ 7377 h 10000"/>
              <a:gd name="connsiteX17" fmla="*/ 8902 w 10000"/>
              <a:gd name="connsiteY17" fmla="*/ 7216 h 10000"/>
              <a:gd name="connsiteX18" fmla="*/ 8667 w 10000"/>
              <a:gd name="connsiteY18" fmla="*/ 7255 h 10000"/>
              <a:gd name="connsiteX19" fmla="*/ 8813 w 10000"/>
              <a:gd name="connsiteY19" fmla="*/ 8321 h 10000"/>
              <a:gd name="connsiteX20" fmla="*/ 8218 w 10000"/>
              <a:gd name="connsiteY20" fmla="*/ 9441 h 10000"/>
              <a:gd name="connsiteX21" fmla="*/ 7965 w 10000"/>
              <a:gd name="connsiteY21" fmla="*/ 9894 h 10000"/>
              <a:gd name="connsiteX22" fmla="*/ 7496 w 10000"/>
              <a:gd name="connsiteY22" fmla="*/ 10000 h 10000"/>
              <a:gd name="connsiteX23" fmla="*/ 3102 w 10000"/>
              <a:gd name="connsiteY23" fmla="*/ 9906 h 10000"/>
              <a:gd name="connsiteX24" fmla="*/ 1223 w 10000"/>
              <a:gd name="connsiteY24" fmla="*/ 9801 h 10000"/>
              <a:gd name="connsiteX25" fmla="*/ 1120 w 10000"/>
              <a:gd name="connsiteY25" fmla="*/ 9386 h 10000"/>
              <a:gd name="connsiteX26" fmla="*/ 1145 w 10000"/>
              <a:gd name="connsiteY26" fmla="*/ 8878 h 10000"/>
              <a:gd name="connsiteX27" fmla="*/ 1167 w 10000"/>
              <a:gd name="connsiteY27" fmla="*/ 8481 h 10000"/>
              <a:gd name="connsiteX28" fmla="*/ 1246 w 10000"/>
              <a:gd name="connsiteY28" fmla="*/ 7996 h 10000"/>
              <a:gd name="connsiteX29" fmla="*/ 1173 w 10000"/>
              <a:gd name="connsiteY29" fmla="*/ 7552 h 10000"/>
              <a:gd name="connsiteX30" fmla="*/ 1051 w 10000"/>
              <a:gd name="connsiteY30" fmla="*/ 7110 h 10000"/>
              <a:gd name="connsiteX31" fmla="*/ 1062 w 10000"/>
              <a:gd name="connsiteY31" fmla="*/ 6714 h 10000"/>
              <a:gd name="connsiteX32" fmla="*/ 1062 w 10000"/>
              <a:gd name="connsiteY32" fmla="*/ 6604 h 10000"/>
              <a:gd name="connsiteX33" fmla="*/ 838 w 10000"/>
              <a:gd name="connsiteY33" fmla="*/ 5739 h 10000"/>
              <a:gd name="connsiteX34" fmla="*/ 696 w 10000"/>
              <a:gd name="connsiteY34" fmla="*/ 4704 h 10000"/>
              <a:gd name="connsiteX35" fmla="*/ 543 w 10000"/>
              <a:gd name="connsiteY35" fmla="*/ 4059 h 10000"/>
              <a:gd name="connsiteX36" fmla="*/ 521 w 10000"/>
              <a:gd name="connsiteY36" fmla="*/ 3565 h 10000"/>
              <a:gd name="connsiteX37" fmla="*/ 0 w 10000"/>
              <a:gd name="connsiteY37" fmla="*/ 2696 h 10000"/>
              <a:gd name="connsiteX38" fmla="*/ 477 w 10000"/>
              <a:gd name="connsiteY38" fmla="*/ 2080 h 10000"/>
              <a:gd name="connsiteX39" fmla="*/ 477 w 10000"/>
              <a:gd name="connsiteY39" fmla="*/ 1802 h 10000"/>
              <a:gd name="connsiteX40" fmla="*/ 477 w 10000"/>
              <a:gd name="connsiteY40" fmla="*/ 963 h 10000"/>
              <a:gd name="connsiteX41" fmla="*/ 715 w 10000"/>
              <a:gd name="connsiteY41" fmla="*/ 134 h 10000"/>
              <a:gd name="connsiteX42" fmla="*/ 4777 w 10000"/>
              <a:gd name="connsiteY42" fmla="*/ 170 h 10000"/>
              <a:gd name="connsiteX43" fmla="*/ 8448 w 10000"/>
              <a:gd name="connsiteY43" fmla="*/ 0 h 10000"/>
              <a:gd name="connsiteX0" fmla="*/ 8448 w 10000"/>
              <a:gd name="connsiteY0" fmla="*/ 0 h 10603"/>
              <a:gd name="connsiteX1" fmla="*/ 8570 w 10000"/>
              <a:gd name="connsiteY1" fmla="*/ 395 h 10603"/>
              <a:gd name="connsiteX2" fmla="*/ 8682 w 10000"/>
              <a:gd name="connsiteY2" fmla="*/ 963 h 10603"/>
              <a:gd name="connsiteX3" fmla="*/ 8631 w 10000"/>
              <a:gd name="connsiteY3" fmla="*/ 1285 h 10603"/>
              <a:gd name="connsiteX4" fmla="*/ 8426 w 10000"/>
              <a:gd name="connsiteY4" fmla="*/ 2023 h 10603"/>
              <a:gd name="connsiteX5" fmla="*/ 8537 w 10000"/>
              <a:gd name="connsiteY5" fmla="*/ 2303 h 10603"/>
              <a:gd name="connsiteX6" fmla="*/ 8572 w 10000"/>
              <a:gd name="connsiteY6" fmla="*/ 2641 h 10603"/>
              <a:gd name="connsiteX7" fmla="*/ 8976 w 10000"/>
              <a:gd name="connsiteY7" fmla="*/ 3197 h 10603"/>
              <a:gd name="connsiteX8" fmla="*/ 9458 w 10000"/>
              <a:gd name="connsiteY8" fmla="*/ 3546 h 10603"/>
              <a:gd name="connsiteX9" fmla="*/ 9561 w 10000"/>
              <a:gd name="connsiteY9" fmla="*/ 4203 h 10603"/>
              <a:gd name="connsiteX10" fmla="*/ 9743 w 10000"/>
              <a:gd name="connsiteY10" fmla="*/ 4592 h 10603"/>
              <a:gd name="connsiteX11" fmla="*/ 9890 w 10000"/>
              <a:gd name="connsiteY11" fmla="*/ 4873 h 10603"/>
              <a:gd name="connsiteX12" fmla="*/ 10000 w 10000"/>
              <a:gd name="connsiteY12" fmla="*/ 5710 h 10603"/>
              <a:gd name="connsiteX13" fmla="*/ 9781 w 10000"/>
              <a:gd name="connsiteY13" fmla="*/ 6210 h 10603"/>
              <a:gd name="connsiteX14" fmla="*/ 9670 w 10000"/>
              <a:gd name="connsiteY14" fmla="*/ 6491 h 10603"/>
              <a:gd name="connsiteX15" fmla="*/ 9670 w 10000"/>
              <a:gd name="connsiteY15" fmla="*/ 6993 h 10603"/>
              <a:gd name="connsiteX16" fmla="*/ 9354 w 10000"/>
              <a:gd name="connsiteY16" fmla="*/ 7377 h 10603"/>
              <a:gd name="connsiteX17" fmla="*/ 8902 w 10000"/>
              <a:gd name="connsiteY17" fmla="*/ 7216 h 10603"/>
              <a:gd name="connsiteX18" fmla="*/ 8667 w 10000"/>
              <a:gd name="connsiteY18" fmla="*/ 7255 h 10603"/>
              <a:gd name="connsiteX19" fmla="*/ 8813 w 10000"/>
              <a:gd name="connsiteY19" fmla="*/ 8321 h 10603"/>
              <a:gd name="connsiteX20" fmla="*/ 8218 w 10000"/>
              <a:gd name="connsiteY20" fmla="*/ 9441 h 10603"/>
              <a:gd name="connsiteX21" fmla="*/ 8143 w 10000"/>
              <a:gd name="connsiteY21" fmla="*/ 10595 h 10603"/>
              <a:gd name="connsiteX22" fmla="*/ 7496 w 10000"/>
              <a:gd name="connsiteY22" fmla="*/ 10000 h 10603"/>
              <a:gd name="connsiteX23" fmla="*/ 3102 w 10000"/>
              <a:gd name="connsiteY23" fmla="*/ 9906 h 10603"/>
              <a:gd name="connsiteX24" fmla="*/ 1223 w 10000"/>
              <a:gd name="connsiteY24" fmla="*/ 9801 h 10603"/>
              <a:gd name="connsiteX25" fmla="*/ 1120 w 10000"/>
              <a:gd name="connsiteY25" fmla="*/ 9386 h 10603"/>
              <a:gd name="connsiteX26" fmla="*/ 1145 w 10000"/>
              <a:gd name="connsiteY26" fmla="*/ 8878 h 10603"/>
              <a:gd name="connsiteX27" fmla="*/ 1167 w 10000"/>
              <a:gd name="connsiteY27" fmla="*/ 8481 h 10603"/>
              <a:gd name="connsiteX28" fmla="*/ 1246 w 10000"/>
              <a:gd name="connsiteY28" fmla="*/ 7996 h 10603"/>
              <a:gd name="connsiteX29" fmla="*/ 1173 w 10000"/>
              <a:gd name="connsiteY29" fmla="*/ 7552 h 10603"/>
              <a:gd name="connsiteX30" fmla="*/ 1051 w 10000"/>
              <a:gd name="connsiteY30" fmla="*/ 7110 h 10603"/>
              <a:gd name="connsiteX31" fmla="*/ 1062 w 10000"/>
              <a:gd name="connsiteY31" fmla="*/ 6714 h 10603"/>
              <a:gd name="connsiteX32" fmla="*/ 1062 w 10000"/>
              <a:gd name="connsiteY32" fmla="*/ 6604 h 10603"/>
              <a:gd name="connsiteX33" fmla="*/ 838 w 10000"/>
              <a:gd name="connsiteY33" fmla="*/ 5739 h 10603"/>
              <a:gd name="connsiteX34" fmla="*/ 696 w 10000"/>
              <a:gd name="connsiteY34" fmla="*/ 4704 h 10603"/>
              <a:gd name="connsiteX35" fmla="*/ 543 w 10000"/>
              <a:gd name="connsiteY35" fmla="*/ 4059 h 10603"/>
              <a:gd name="connsiteX36" fmla="*/ 521 w 10000"/>
              <a:gd name="connsiteY36" fmla="*/ 3565 h 10603"/>
              <a:gd name="connsiteX37" fmla="*/ 0 w 10000"/>
              <a:gd name="connsiteY37" fmla="*/ 2696 h 10603"/>
              <a:gd name="connsiteX38" fmla="*/ 477 w 10000"/>
              <a:gd name="connsiteY38" fmla="*/ 2080 h 10603"/>
              <a:gd name="connsiteX39" fmla="*/ 477 w 10000"/>
              <a:gd name="connsiteY39" fmla="*/ 1802 h 10603"/>
              <a:gd name="connsiteX40" fmla="*/ 477 w 10000"/>
              <a:gd name="connsiteY40" fmla="*/ 963 h 10603"/>
              <a:gd name="connsiteX41" fmla="*/ 715 w 10000"/>
              <a:gd name="connsiteY41" fmla="*/ 134 h 10603"/>
              <a:gd name="connsiteX42" fmla="*/ 4777 w 10000"/>
              <a:gd name="connsiteY42" fmla="*/ 170 h 10603"/>
              <a:gd name="connsiteX43" fmla="*/ 8448 w 10000"/>
              <a:gd name="connsiteY43" fmla="*/ 0 h 10603"/>
              <a:gd name="connsiteX0" fmla="*/ 8448 w 10000"/>
              <a:gd name="connsiteY0" fmla="*/ 0 h 10603"/>
              <a:gd name="connsiteX1" fmla="*/ 8570 w 10000"/>
              <a:gd name="connsiteY1" fmla="*/ 395 h 10603"/>
              <a:gd name="connsiteX2" fmla="*/ 8682 w 10000"/>
              <a:gd name="connsiteY2" fmla="*/ 963 h 10603"/>
              <a:gd name="connsiteX3" fmla="*/ 8631 w 10000"/>
              <a:gd name="connsiteY3" fmla="*/ 1285 h 10603"/>
              <a:gd name="connsiteX4" fmla="*/ 8426 w 10000"/>
              <a:gd name="connsiteY4" fmla="*/ 2023 h 10603"/>
              <a:gd name="connsiteX5" fmla="*/ 8537 w 10000"/>
              <a:gd name="connsiteY5" fmla="*/ 2303 h 10603"/>
              <a:gd name="connsiteX6" fmla="*/ 8572 w 10000"/>
              <a:gd name="connsiteY6" fmla="*/ 2641 h 10603"/>
              <a:gd name="connsiteX7" fmla="*/ 8976 w 10000"/>
              <a:gd name="connsiteY7" fmla="*/ 3197 h 10603"/>
              <a:gd name="connsiteX8" fmla="*/ 9458 w 10000"/>
              <a:gd name="connsiteY8" fmla="*/ 3546 h 10603"/>
              <a:gd name="connsiteX9" fmla="*/ 9561 w 10000"/>
              <a:gd name="connsiteY9" fmla="*/ 4203 h 10603"/>
              <a:gd name="connsiteX10" fmla="*/ 9743 w 10000"/>
              <a:gd name="connsiteY10" fmla="*/ 4592 h 10603"/>
              <a:gd name="connsiteX11" fmla="*/ 9890 w 10000"/>
              <a:gd name="connsiteY11" fmla="*/ 4873 h 10603"/>
              <a:gd name="connsiteX12" fmla="*/ 10000 w 10000"/>
              <a:gd name="connsiteY12" fmla="*/ 5710 h 10603"/>
              <a:gd name="connsiteX13" fmla="*/ 9781 w 10000"/>
              <a:gd name="connsiteY13" fmla="*/ 6210 h 10603"/>
              <a:gd name="connsiteX14" fmla="*/ 9670 w 10000"/>
              <a:gd name="connsiteY14" fmla="*/ 6491 h 10603"/>
              <a:gd name="connsiteX15" fmla="*/ 9670 w 10000"/>
              <a:gd name="connsiteY15" fmla="*/ 6993 h 10603"/>
              <a:gd name="connsiteX16" fmla="*/ 9354 w 10000"/>
              <a:gd name="connsiteY16" fmla="*/ 7377 h 10603"/>
              <a:gd name="connsiteX17" fmla="*/ 8902 w 10000"/>
              <a:gd name="connsiteY17" fmla="*/ 7216 h 10603"/>
              <a:gd name="connsiteX18" fmla="*/ 8667 w 10000"/>
              <a:gd name="connsiteY18" fmla="*/ 7255 h 10603"/>
              <a:gd name="connsiteX19" fmla="*/ 8813 w 10000"/>
              <a:gd name="connsiteY19" fmla="*/ 8321 h 10603"/>
              <a:gd name="connsiteX20" fmla="*/ 8218 w 10000"/>
              <a:gd name="connsiteY20" fmla="*/ 9441 h 10603"/>
              <a:gd name="connsiteX21" fmla="*/ 8143 w 10000"/>
              <a:gd name="connsiteY21" fmla="*/ 10595 h 10603"/>
              <a:gd name="connsiteX22" fmla="*/ 7496 w 10000"/>
              <a:gd name="connsiteY22" fmla="*/ 10000 h 10603"/>
              <a:gd name="connsiteX23" fmla="*/ 3102 w 10000"/>
              <a:gd name="connsiteY23" fmla="*/ 9906 h 10603"/>
              <a:gd name="connsiteX24" fmla="*/ 1223 w 10000"/>
              <a:gd name="connsiteY24" fmla="*/ 9801 h 10603"/>
              <a:gd name="connsiteX25" fmla="*/ 1120 w 10000"/>
              <a:gd name="connsiteY25" fmla="*/ 9386 h 10603"/>
              <a:gd name="connsiteX26" fmla="*/ 1145 w 10000"/>
              <a:gd name="connsiteY26" fmla="*/ 8878 h 10603"/>
              <a:gd name="connsiteX27" fmla="*/ 1167 w 10000"/>
              <a:gd name="connsiteY27" fmla="*/ 8481 h 10603"/>
              <a:gd name="connsiteX28" fmla="*/ 1246 w 10000"/>
              <a:gd name="connsiteY28" fmla="*/ 7996 h 10603"/>
              <a:gd name="connsiteX29" fmla="*/ 1173 w 10000"/>
              <a:gd name="connsiteY29" fmla="*/ 7552 h 10603"/>
              <a:gd name="connsiteX30" fmla="*/ 1051 w 10000"/>
              <a:gd name="connsiteY30" fmla="*/ 7110 h 10603"/>
              <a:gd name="connsiteX31" fmla="*/ 1062 w 10000"/>
              <a:gd name="connsiteY31" fmla="*/ 6714 h 10603"/>
              <a:gd name="connsiteX32" fmla="*/ 1062 w 10000"/>
              <a:gd name="connsiteY32" fmla="*/ 6604 h 10603"/>
              <a:gd name="connsiteX33" fmla="*/ 838 w 10000"/>
              <a:gd name="connsiteY33" fmla="*/ 5739 h 10603"/>
              <a:gd name="connsiteX34" fmla="*/ 696 w 10000"/>
              <a:gd name="connsiteY34" fmla="*/ 4704 h 10603"/>
              <a:gd name="connsiteX35" fmla="*/ 543 w 10000"/>
              <a:gd name="connsiteY35" fmla="*/ 4059 h 10603"/>
              <a:gd name="connsiteX36" fmla="*/ 521 w 10000"/>
              <a:gd name="connsiteY36" fmla="*/ 3565 h 10603"/>
              <a:gd name="connsiteX37" fmla="*/ 0 w 10000"/>
              <a:gd name="connsiteY37" fmla="*/ 2696 h 10603"/>
              <a:gd name="connsiteX38" fmla="*/ 477 w 10000"/>
              <a:gd name="connsiteY38" fmla="*/ 2080 h 10603"/>
              <a:gd name="connsiteX39" fmla="*/ 477 w 10000"/>
              <a:gd name="connsiteY39" fmla="*/ 1802 h 10603"/>
              <a:gd name="connsiteX40" fmla="*/ 477 w 10000"/>
              <a:gd name="connsiteY40" fmla="*/ 963 h 10603"/>
              <a:gd name="connsiteX41" fmla="*/ 715 w 10000"/>
              <a:gd name="connsiteY41" fmla="*/ 134 h 10603"/>
              <a:gd name="connsiteX42" fmla="*/ 4777 w 10000"/>
              <a:gd name="connsiteY42" fmla="*/ 170 h 10603"/>
              <a:gd name="connsiteX43" fmla="*/ 8448 w 10000"/>
              <a:gd name="connsiteY43" fmla="*/ 0 h 10603"/>
              <a:gd name="connsiteX0" fmla="*/ 8448 w 10000"/>
              <a:gd name="connsiteY0" fmla="*/ 0 h 10614"/>
              <a:gd name="connsiteX1" fmla="*/ 8570 w 10000"/>
              <a:gd name="connsiteY1" fmla="*/ 395 h 10614"/>
              <a:gd name="connsiteX2" fmla="*/ 8682 w 10000"/>
              <a:gd name="connsiteY2" fmla="*/ 963 h 10614"/>
              <a:gd name="connsiteX3" fmla="*/ 8631 w 10000"/>
              <a:gd name="connsiteY3" fmla="*/ 1285 h 10614"/>
              <a:gd name="connsiteX4" fmla="*/ 8426 w 10000"/>
              <a:gd name="connsiteY4" fmla="*/ 2023 h 10614"/>
              <a:gd name="connsiteX5" fmla="*/ 8537 w 10000"/>
              <a:gd name="connsiteY5" fmla="*/ 2303 h 10614"/>
              <a:gd name="connsiteX6" fmla="*/ 8572 w 10000"/>
              <a:gd name="connsiteY6" fmla="*/ 2641 h 10614"/>
              <a:gd name="connsiteX7" fmla="*/ 8976 w 10000"/>
              <a:gd name="connsiteY7" fmla="*/ 3197 h 10614"/>
              <a:gd name="connsiteX8" fmla="*/ 9458 w 10000"/>
              <a:gd name="connsiteY8" fmla="*/ 3546 h 10614"/>
              <a:gd name="connsiteX9" fmla="*/ 9561 w 10000"/>
              <a:gd name="connsiteY9" fmla="*/ 4203 h 10614"/>
              <a:gd name="connsiteX10" fmla="*/ 9743 w 10000"/>
              <a:gd name="connsiteY10" fmla="*/ 4592 h 10614"/>
              <a:gd name="connsiteX11" fmla="*/ 9890 w 10000"/>
              <a:gd name="connsiteY11" fmla="*/ 4873 h 10614"/>
              <a:gd name="connsiteX12" fmla="*/ 10000 w 10000"/>
              <a:gd name="connsiteY12" fmla="*/ 5710 h 10614"/>
              <a:gd name="connsiteX13" fmla="*/ 9781 w 10000"/>
              <a:gd name="connsiteY13" fmla="*/ 6210 h 10614"/>
              <a:gd name="connsiteX14" fmla="*/ 9670 w 10000"/>
              <a:gd name="connsiteY14" fmla="*/ 6491 h 10614"/>
              <a:gd name="connsiteX15" fmla="*/ 9670 w 10000"/>
              <a:gd name="connsiteY15" fmla="*/ 6993 h 10614"/>
              <a:gd name="connsiteX16" fmla="*/ 9354 w 10000"/>
              <a:gd name="connsiteY16" fmla="*/ 7377 h 10614"/>
              <a:gd name="connsiteX17" fmla="*/ 8902 w 10000"/>
              <a:gd name="connsiteY17" fmla="*/ 7216 h 10614"/>
              <a:gd name="connsiteX18" fmla="*/ 8667 w 10000"/>
              <a:gd name="connsiteY18" fmla="*/ 7255 h 10614"/>
              <a:gd name="connsiteX19" fmla="*/ 8813 w 10000"/>
              <a:gd name="connsiteY19" fmla="*/ 8321 h 10614"/>
              <a:gd name="connsiteX20" fmla="*/ 8218 w 10000"/>
              <a:gd name="connsiteY20" fmla="*/ 9441 h 10614"/>
              <a:gd name="connsiteX21" fmla="*/ 8143 w 10000"/>
              <a:gd name="connsiteY21" fmla="*/ 10595 h 10614"/>
              <a:gd name="connsiteX22" fmla="*/ 7496 w 10000"/>
              <a:gd name="connsiteY22" fmla="*/ 10000 h 10614"/>
              <a:gd name="connsiteX23" fmla="*/ 3102 w 10000"/>
              <a:gd name="connsiteY23" fmla="*/ 9906 h 10614"/>
              <a:gd name="connsiteX24" fmla="*/ 1223 w 10000"/>
              <a:gd name="connsiteY24" fmla="*/ 9801 h 10614"/>
              <a:gd name="connsiteX25" fmla="*/ 1120 w 10000"/>
              <a:gd name="connsiteY25" fmla="*/ 9386 h 10614"/>
              <a:gd name="connsiteX26" fmla="*/ 1145 w 10000"/>
              <a:gd name="connsiteY26" fmla="*/ 8878 h 10614"/>
              <a:gd name="connsiteX27" fmla="*/ 1167 w 10000"/>
              <a:gd name="connsiteY27" fmla="*/ 8481 h 10614"/>
              <a:gd name="connsiteX28" fmla="*/ 1246 w 10000"/>
              <a:gd name="connsiteY28" fmla="*/ 7996 h 10614"/>
              <a:gd name="connsiteX29" fmla="*/ 1173 w 10000"/>
              <a:gd name="connsiteY29" fmla="*/ 7552 h 10614"/>
              <a:gd name="connsiteX30" fmla="*/ 1051 w 10000"/>
              <a:gd name="connsiteY30" fmla="*/ 7110 h 10614"/>
              <a:gd name="connsiteX31" fmla="*/ 1062 w 10000"/>
              <a:gd name="connsiteY31" fmla="*/ 6714 h 10614"/>
              <a:gd name="connsiteX32" fmla="*/ 1062 w 10000"/>
              <a:gd name="connsiteY32" fmla="*/ 6604 h 10614"/>
              <a:gd name="connsiteX33" fmla="*/ 838 w 10000"/>
              <a:gd name="connsiteY33" fmla="*/ 5739 h 10614"/>
              <a:gd name="connsiteX34" fmla="*/ 696 w 10000"/>
              <a:gd name="connsiteY34" fmla="*/ 4704 h 10614"/>
              <a:gd name="connsiteX35" fmla="*/ 543 w 10000"/>
              <a:gd name="connsiteY35" fmla="*/ 4059 h 10614"/>
              <a:gd name="connsiteX36" fmla="*/ 521 w 10000"/>
              <a:gd name="connsiteY36" fmla="*/ 3565 h 10614"/>
              <a:gd name="connsiteX37" fmla="*/ 0 w 10000"/>
              <a:gd name="connsiteY37" fmla="*/ 2696 h 10614"/>
              <a:gd name="connsiteX38" fmla="*/ 477 w 10000"/>
              <a:gd name="connsiteY38" fmla="*/ 2080 h 10614"/>
              <a:gd name="connsiteX39" fmla="*/ 477 w 10000"/>
              <a:gd name="connsiteY39" fmla="*/ 1802 h 10614"/>
              <a:gd name="connsiteX40" fmla="*/ 477 w 10000"/>
              <a:gd name="connsiteY40" fmla="*/ 963 h 10614"/>
              <a:gd name="connsiteX41" fmla="*/ 715 w 10000"/>
              <a:gd name="connsiteY41" fmla="*/ 134 h 10614"/>
              <a:gd name="connsiteX42" fmla="*/ 4777 w 10000"/>
              <a:gd name="connsiteY42" fmla="*/ 170 h 10614"/>
              <a:gd name="connsiteX43" fmla="*/ 8448 w 10000"/>
              <a:gd name="connsiteY43" fmla="*/ 0 h 10614"/>
              <a:gd name="connsiteX0" fmla="*/ 8448 w 10000"/>
              <a:gd name="connsiteY0" fmla="*/ 0 h 10614"/>
              <a:gd name="connsiteX1" fmla="*/ 8570 w 10000"/>
              <a:gd name="connsiteY1" fmla="*/ 395 h 10614"/>
              <a:gd name="connsiteX2" fmla="*/ 8682 w 10000"/>
              <a:gd name="connsiteY2" fmla="*/ 963 h 10614"/>
              <a:gd name="connsiteX3" fmla="*/ 8631 w 10000"/>
              <a:gd name="connsiteY3" fmla="*/ 1285 h 10614"/>
              <a:gd name="connsiteX4" fmla="*/ 8426 w 10000"/>
              <a:gd name="connsiteY4" fmla="*/ 2023 h 10614"/>
              <a:gd name="connsiteX5" fmla="*/ 8537 w 10000"/>
              <a:gd name="connsiteY5" fmla="*/ 2303 h 10614"/>
              <a:gd name="connsiteX6" fmla="*/ 8572 w 10000"/>
              <a:gd name="connsiteY6" fmla="*/ 2641 h 10614"/>
              <a:gd name="connsiteX7" fmla="*/ 8976 w 10000"/>
              <a:gd name="connsiteY7" fmla="*/ 3197 h 10614"/>
              <a:gd name="connsiteX8" fmla="*/ 9458 w 10000"/>
              <a:gd name="connsiteY8" fmla="*/ 3546 h 10614"/>
              <a:gd name="connsiteX9" fmla="*/ 9561 w 10000"/>
              <a:gd name="connsiteY9" fmla="*/ 4203 h 10614"/>
              <a:gd name="connsiteX10" fmla="*/ 9743 w 10000"/>
              <a:gd name="connsiteY10" fmla="*/ 4592 h 10614"/>
              <a:gd name="connsiteX11" fmla="*/ 9890 w 10000"/>
              <a:gd name="connsiteY11" fmla="*/ 4873 h 10614"/>
              <a:gd name="connsiteX12" fmla="*/ 10000 w 10000"/>
              <a:gd name="connsiteY12" fmla="*/ 5710 h 10614"/>
              <a:gd name="connsiteX13" fmla="*/ 9781 w 10000"/>
              <a:gd name="connsiteY13" fmla="*/ 6210 h 10614"/>
              <a:gd name="connsiteX14" fmla="*/ 9670 w 10000"/>
              <a:gd name="connsiteY14" fmla="*/ 6491 h 10614"/>
              <a:gd name="connsiteX15" fmla="*/ 9670 w 10000"/>
              <a:gd name="connsiteY15" fmla="*/ 6993 h 10614"/>
              <a:gd name="connsiteX16" fmla="*/ 9354 w 10000"/>
              <a:gd name="connsiteY16" fmla="*/ 7377 h 10614"/>
              <a:gd name="connsiteX17" fmla="*/ 8902 w 10000"/>
              <a:gd name="connsiteY17" fmla="*/ 7216 h 10614"/>
              <a:gd name="connsiteX18" fmla="*/ 8667 w 10000"/>
              <a:gd name="connsiteY18" fmla="*/ 7255 h 10614"/>
              <a:gd name="connsiteX19" fmla="*/ 8813 w 10000"/>
              <a:gd name="connsiteY19" fmla="*/ 8321 h 10614"/>
              <a:gd name="connsiteX20" fmla="*/ 8218 w 10000"/>
              <a:gd name="connsiteY20" fmla="*/ 9441 h 10614"/>
              <a:gd name="connsiteX21" fmla="*/ 8143 w 10000"/>
              <a:gd name="connsiteY21" fmla="*/ 10595 h 10614"/>
              <a:gd name="connsiteX22" fmla="*/ 7496 w 10000"/>
              <a:gd name="connsiteY22" fmla="*/ 10000 h 10614"/>
              <a:gd name="connsiteX23" fmla="*/ 3102 w 10000"/>
              <a:gd name="connsiteY23" fmla="*/ 9906 h 10614"/>
              <a:gd name="connsiteX24" fmla="*/ 1223 w 10000"/>
              <a:gd name="connsiteY24" fmla="*/ 9801 h 10614"/>
              <a:gd name="connsiteX25" fmla="*/ 1120 w 10000"/>
              <a:gd name="connsiteY25" fmla="*/ 9386 h 10614"/>
              <a:gd name="connsiteX26" fmla="*/ 1145 w 10000"/>
              <a:gd name="connsiteY26" fmla="*/ 8878 h 10614"/>
              <a:gd name="connsiteX27" fmla="*/ 1167 w 10000"/>
              <a:gd name="connsiteY27" fmla="*/ 8481 h 10614"/>
              <a:gd name="connsiteX28" fmla="*/ 1246 w 10000"/>
              <a:gd name="connsiteY28" fmla="*/ 7996 h 10614"/>
              <a:gd name="connsiteX29" fmla="*/ 1173 w 10000"/>
              <a:gd name="connsiteY29" fmla="*/ 7552 h 10614"/>
              <a:gd name="connsiteX30" fmla="*/ 1051 w 10000"/>
              <a:gd name="connsiteY30" fmla="*/ 7110 h 10614"/>
              <a:gd name="connsiteX31" fmla="*/ 1062 w 10000"/>
              <a:gd name="connsiteY31" fmla="*/ 6714 h 10614"/>
              <a:gd name="connsiteX32" fmla="*/ 1062 w 10000"/>
              <a:gd name="connsiteY32" fmla="*/ 6604 h 10614"/>
              <a:gd name="connsiteX33" fmla="*/ 838 w 10000"/>
              <a:gd name="connsiteY33" fmla="*/ 5739 h 10614"/>
              <a:gd name="connsiteX34" fmla="*/ 696 w 10000"/>
              <a:gd name="connsiteY34" fmla="*/ 4704 h 10614"/>
              <a:gd name="connsiteX35" fmla="*/ 543 w 10000"/>
              <a:gd name="connsiteY35" fmla="*/ 4059 h 10614"/>
              <a:gd name="connsiteX36" fmla="*/ 521 w 10000"/>
              <a:gd name="connsiteY36" fmla="*/ 3565 h 10614"/>
              <a:gd name="connsiteX37" fmla="*/ 0 w 10000"/>
              <a:gd name="connsiteY37" fmla="*/ 2696 h 10614"/>
              <a:gd name="connsiteX38" fmla="*/ 477 w 10000"/>
              <a:gd name="connsiteY38" fmla="*/ 2080 h 10614"/>
              <a:gd name="connsiteX39" fmla="*/ 477 w 10000"/>
              <a:gd name="connsiteY39" fmla="*/ 1802 h 10614"/>
              <a:gd name="connsiteX40" fmla="*/ 477 w 10000"/>
              <a:gd name="connsiteY40" fmla="*/ 963 h 10614"/>
              <a:gd name="connsiteX41" fmla="*/ 715 w 10000"/>
              <a:gd name="connsiteY41" fmla="*/ 134 h 10614"/>
              <a:gd name="connsiteX42" fmla="*/ 4777 w 10000"/>
              <a:gd name="connsiteY42" fmla="*/ 170 h 10614"/>
              <a:gd name="connsiteX43" fmla="*/ 8448 w 10000"/>
              <a:gd name="connsiteY43" fmla="*/ 0 h 10614"/>
              <a:gd name="connsiteX0" fmla="*/ 8448 w 10000"/>
              <a:gd name="connsiteY0" fmla="*/ 0 h 10614"/>
              <a:gd name="connsiteX1" fmla="*/ 8570 w 10000"/>
              <a:gd name="connsiteY1" fmla="*/ 395 h 10614"/>
              <a:gd name="connsiteX2" fmla="*/ 8682 w 10000"/>
              <a:gd name="connsiteY2" fmla="*/ 963 h 10614"/>
              <a:gd name="connsiteX3" fmla="*/ 8631 w 10000"/>
              <a:gd name="connsiteY3" fmla="*/ 1285 h 10614"/>
              <a:gd name="connsiteX4" fmla="*/ 8426 w 10000"/>
              <a:gd name="connsiteY4" fmla="*/ 2023 h 10614"/>
              <a:gd name="connsiteX5" fmla="*/ 8537 w 10000"/>
              <a:gd name="connsiteY5" fmla="*/ 2303 h 10614"/>
              <a:gd name="connsiteX6" fmla="*/ 8572 w 10000"/>
              <a:gd name="connsiteY6" fmla="*/ 2641 h 10614"/>
              <a:gd name="connsiteX7" fmla="*/ 8976 w 10000"/>
              <a:gd name="connsiteY7" fmla="*/ 3197 h 10614"/>
              <a:gd name="connsiteX8" fmla="*/ 9458 w 10000"/>
              <a:gd name="connsiteY8" fmla="*/ 3546 h 10614"/>
              <a:gd name="connsiteX9" fmla="*/ 9561 w 10000"/>
              <a:gd name="connsiteY9" fmla="*/ 4203 h 10614"/>
              <a:gd name="connsiteX10" fmla="*/ 9743 w 10000"/>
              <a:gd name="connsiteY10" fmla="*/ 4592 h 10614"/>
              <a:gd name="connsiteX11" fmla="*/ 9890 w 10000"/>
              <a:gd name="connsiteY11" fmla="*/ 4873 h 10614"/>
              <a:gd name="connsiteX12" fmla="*/ 10000 w 10000"/>
              <a:gd name="connsiteY12" fmla="*/ 5710 h 10614"/>
              <a:gd name="connsiteX13" fmla="*/ 9781 w 10000"/>
              <a:gd name="connsiteY13" fmla="*/ 6210 h 10614"/>
              <a:gd name="connsiteX14" fmla="*/ 9670 w 10000"/>
              <a:gd name="connsiteY14" fmla="*/ 6491 h 10614"/>
              <a:gd name="connsiteX15" fmla="*/ 9670 w 10000"/>
              <a:gd name="connsiteY15" fmla="*/ 6993 h 10614"/>
              <a:gd name="connsiteX16" fmla="*/ 9354 w 10000"/>
              <a:gd name="connsiteY16" fmla="*/ 7377 h 10614"/>
              <a:gd name="connsiteX17" fmla="*/ 8902 w 10000"/>
              <a:gd name="connsiteY17" fmla="*/ 7216 h 10614"/>
              <a:gd name="connsiteX18" fmla="*/ 8667 w 10000"/>
              <a:gd name="connsiteY18" fmla="*/ 7255 h 10614"/>
              <a:gd name="connsiteX19" fmla="*/ 8813 w 10000"/>
              <a:gd name="connsiteY19" fmla="*/ 8321 h 10614"/>
              <a:gd name="connsiteX20" fmla="*/ 8218 w 10000"/>
              <a:gd name="connsiteY20" fmla="*/ 9441 h 10614"/>
              <a:gd name="connsiteX21" fmla="*/ 8143 w 10000"/>
              <a:gd name="connsiteY21" fmla="*/ 10595 h 10614"/>
              <a:gd name="connsiteX22" fmla="*/ 7496 w 10000"/>
              <a:gd name="connsiteY22" fmla="*/ 10000 h 10614"/>
              <a:gd name="connsiteX23" fmla="*/ 3102 w 10000"/>
              <a:gd name="connsiteY23" fmla="*/ 9906 h 10614"/>
              <a:gd name="connsiteX24" fmla="*/ 1223 w 10000"/>
              <a:gd name="connsiteY24" fmla="*/ 9801 h 10614"/>
              <a:gd name="connsiteX25" fmla="*/ 1120 w 10000"/>
              <a:gd name="connsiteY25" fmla="*/ 9386 h 10614"/>
              <a:gd name="connsiteX26" fmla="*/ 1145 w 10000"/>
              <a:gd name="connsiteY26" fmla="*/ 8878 h 10614"/>
              <a:gd name="connsiteX27" fmla="*/ 1167 w 10000"/>
              <a:gd name="connsiteY27" fmla="*/ 8481 h 10614"/>
              <a:gd name="connsiteX28" fmla="*/ 1246 w 10000"/>
              <a:gd name="connsiteY28" fmla="*/ 7996 h 10614"/>
              <a:gd name="connsiteX29" fmla="*/ 1173 w 10000"/>
              <a:gd name="connsiteY29" fmla="*/ 7552 h 10614"/>
              <a:gd name="connsiteX30" fmla="*/ 1051 w 10000"/>
              <a:gd name="connsiteY30" fmla="*/ 7110 h 10614"/>
              <a:gd name="connsiteX31" fmla="*/ 1062 w 10000"/>
              <a:gd name="connsiteY31" fmla="*/ 6714 h 10614"/>
              <a:gd name="connsiteX32" fmla="*/ 1062 w 10000"/>
              <a:gd name="connsiteY32" fmla="*/ 6604 h 10614"/>
              <a:gd name="connsiteX33" fmla="*/ 838 w 10000"/>
              <a:gd name="connsiteY33" fmla="*/ 5739 h 10614"/>
              <a:gd name="connsiteX34" fmla="*/ 696 w 10000"/>
              <a:gd name="connsiteY34" fmla="*/ 4704 h 10614"/>
              <a:gd name="connsiteX35" fmla="*/ 543 w 10000"/>
              <a:gd name="connsiteY35" fmla="*/ 4059 h 10614"/>
              <a:gd name="connsiteX36" fmla="*/ 521 w 10000"/>
              <a:gd name="connsiteY36" fmla="*/ 3565 h 10614"/>
              <a:gd name="connsiteX37" fmla="*/ 0 w 10000"/>
              <a:gd name="connsiteY37" fmla="*/ 2696 h 10614"/>
              <a:gd name="connsiteX38" fmla="*/ 477 w 10000"/>
              <a:gd name="connsiteY38" fmla="*/ 2080 h 10614"/>
              <a:gd name="connsiteX39" fmla="*/ 477 w 10000"/>
              <a:gd name="connsiteY39" fmla="*/ 1802 h 10614"/>
              <a:gd name="connsiteX40" fmla="*/ 477 w 10000"/>
              <a:gd name="connsiteY40" fmla="*/ 963 h 10614"/>
              <a:gd name="connsiteX41" fmla="*/ 715 w 10000"/>
              <a:gd name="connsiteY41" fmla="*/ 134 h 10614"/>
              <a:gd name="connsiteX42" fmla="*/ 4777 w 10000"/>
              <a:gd name="connsiteY42" fmla="*/ 170 h 10614"/>
              <a:gd name="connsiteX43" fmla="*/ 8448 w 10000"/>
              <a:gd name="connsiteY43" fmla="*/ 0 h 10614"/>
              <a:gd name="connsiteX0" fmla="*/ 8448 w 10179"/>
              <a:gd name="connsiteY0" fmla="*/ 0 h 10614"/>
              <a:gd name="connsiteX1" fmla="*/ 8570 w 10179"/>
              <a:gd name="connsiteY1" fmla="*/ 395 h 10614"/>
              <a:gd name="connsiteX2" fmla="*/ 8682 w 10179"/>
              <a:gd name="connsiteY2" fmla="*/ 963 h 10614"/>
              <a:gd name="connsiteX3" fmla="*/ 8631 w 10179"/>
              <a:gd name="connsiteY3" fmla="*/ 1285 h 10614"/>
              <a:gd name="connsiteX4" fmla="*/ 8426 w 10179"/>
              <a:gd name="connsiteY4" fmla="*/ 2023 h 10614"/>
              <a:gd name="connsiteX5" fmla="*/ 8537 w 10179"/>
              <a:gd name="connsiteY5" fmla="*/ 2303 h 10614"/>
              <a:gd name="connsiteX6" fmla="*/ 8572 w 10179"/>
              <a:gd name="connsiteY6" fmla="*/ 2641 h 10614"/>
              <a:gd name="connsiteX7" fmla="*/ 8976 w 10179"/>
              <a:gd name="connsiteY7" fmla="*/ 3197 h 10614"/>
              <a:gd name="connsiteX8" fmla="*/ 9458 w 10179"/>
              <a:gd name="connsiteY8" fmla="*/ 3546 h 10614"/>
              <a:gd name="connsiteX9" fmla="*/ 9561 w 10179"/>
              <a:gd name="connsiteY9" fmla="*/ 4203 h 10614"/>
              <a:gd name="connsiteX10" fmla="*/ 9743 w 10179"/>
              <a:gd name="connsiteY10" fmla="*/ 4592 h 10614"/>
              <a:gd name="connsiteX11" fmla="*/ 9890 w 10179"/>
              <a:gd name="connsiteY11" fmla="*/ 4873 h 10614"/>
              <a:gd name="connsiteX12" fmla="*/ 10179 w 10179"/>
              <a:gd name="connsiteY12" fmla="*/ 5747 h 10614"/>
              <a:gd name="connsiteX13" fmla="*/ 9781 w 10179"/>
              <a:gd name="connsiteY13" fmla="*/ 6210 h 10614"/>
              <a:gd name="connsiteX14" fmla="*/ 9670 w 10179"/>
              <a:gd name="connsiteY14" fmla="*/ 6491 h 10614"/>
              <a:gd name="connsiteX15" fmla="*/ 9670 w 10179"/>
              <a:gd name="connsiteY15" fmla="*/ 6993 h 10614"/>
              <a:gd name="connsiteX16" fmla="*/ 9354 w 10179"/>
              <a:gd name="connsiteY16" fmla="*/ 7377 h 10614"/>
              <a:gd name="connsiteX17" fmla="*/ 8902 w 10179"/>
              <a:gd name="connsiteY17" fmla="*/ 7216 h 10614"/>
              <a:gd name="connsiteX18" fmla="*/ 8667 w 10179"/>
              <a:gd name="connsiteY18" fmla="*/ 7255 h 10614"/>
              <a:gd name="connsiteX19" fmla="*/ 8813 w 10179"/>
              <a:gd name="connsiteY19" fmla="*/ 8321 h 10614"/>
              <a:gd name="connsiteX20" fmla="*/ 8218 w 10179"/>
              <a:gd name="connsiteY20" fmla="*/ 9441 h 10614"/>
              <a:gd name="connsiteX21" fmla="*/ 8143 w 10179"/>
              <a:gd name="connsiteY21" fmla="*/ 10595 h 10614"/>
              <a:gd name="connsiteX22" fmla="*/ 7496 w 10179"/>
              <a:gd name="connsiteY22" fmla="*/ 10000 h 10614"/>
              <a:gd name="connsiteX23" fmla="*/ 3102 w 10179"/>
              <a:gd name="connsiteY23" fmla="*/ 9906 h 10614"/>
              <a:gd name="connsiteX24" fmla="*/ 1223 w 10179"/>
              <a:gd name="connsiteY24" fmla="*/ 9801 h 10614"/>
              <a:gd name="connsiteX25" fmla="*/ 1120 w 10179"/>
              <a:gd name="connsiteY25" fmla="*/ 9386 h 10614"/>
              <a:gd name="connsiteX26" fmla="*/ 1145 w 10179"/>
              <a:gd name="connsiteY26" fmla="*/ 8878 h 10614"/>
              <a:gd name="connsiteX27" fmla="*/ 1167 w 10179"/>
              <a:gd name="connsiteY27" fmla="*/ 8481 h 10614"/>
              <a:gd name="connsiteX28" fmla="*/ 1246 w 10179"/>
              <a:gd name="connsiteY28" fmla="*/ 7996 h 10614"/>
              <a:gd name="connsiteX29" fmla="*/ 1173 w 10179"/>
              <a:gd name="connsiteY29" fmla="*/ 7552 h 10614"/>
              <a:gd name="connsiteX30" fmla="*/ 1051 w 10179"/>
              <a:gd name="connsiteY30" fmla="*/ 7110 h 10614"/>
              <a:gd name="connsiteX31" fmla="*/ 1062 w 10179"/>
              <a:gd name="connsiteY31" fmla="*/ 6714 h 10614"/>
              <a:gd name="connsiteX32" fmla="*/ 1062 w 10179"/>
              <a:gd name="connsiteY32" fmla="*/ 6604 h 10614"/>
              <a:gd name="connsiteX33" fmla="*/ 838 w 10179"/>
              <a:gd name="connsiteY33" fmla="*/ 5739 h 10614"/>
              <a:gd name="connsiteX34" fmla="*/ 696 w 10179"/>
              <a:gd name="connsiteY34" fmla="*/ 4704 h 10614"/>
              <a:gd name="connsiteX35" fmla="*/ 543 w 10179"/>
              <a:gd name="connsiteY35" fmla="*/ 4059 h 10614"/>
              <a:gd name="connsiteX36" fmla="*/ 521 w 10179"/>
              <a:gd name="connsiteY36" fmla="*/ 3565 h 10614"/>
              <a:gd name="connsiteX37" fmla="*/ 0 w 10179"/>
              <a:gd name="connsiteY37" fmla="*/ 2696 h 10614"/>
              <a:gd name="connsiteX38" fmla="*/ 477 w 10179"/>
              <a:gd name="connsiteY38" fmla="*/ 2080 h 10614"/>
              <a:gd name="connsiteX39" fmla="*/ 477 w 10179"/>
              <a:gd name="connsiteY39" fmla="*/ 1802 h 10614"/>
              <a:gd name="connsiteX40" fmla="*/ 477 w 10179"/>
              <a:gd name="connsiteY40" fmla="*/ 963 h 10614"/>
              <a:gd name="connsiteX41" fmla="*/ 715 w 10179"/>
              <a:gd name="connsiteY41" fmla="*/ 134 h 10614"/>
              <a:gd name="connsiteX42" fmla="*/ 4777 w 10179"/>
              <a:gd name="connsiteY42" fmla="*/ 170 h 10614"/>
              <a:gd name="connsiteX43" fmla="*/ 8448 w 10179"/>
              <a:gd name="connsiteY43" fmla="*/ 0 h 10614"/>
              <a:gd name="connsiteX0" fmla="*/ 8448 w 10179"/>
              <a:gd name="connsiteY0" fmla="*/ 0 h 10614"/>
              <a:gd name="connsiteX1" fmla="*/ 8570 w 10179"/>
              <a:gd name="connsiteY1" fmla="*/ 395 h 10614"/>
              <a:gd name="connsiteX2" fmla="*/ 8682 w 10179"/>
              <a:gd name="connsiteY2" fmla="*/ 963 h 10614"/>
              <a:gd name="connsiteX3" fmla="*/ 8631 w 10179"/>
              <a:gd name="connsiteY3" fmla="*/ 1285 h 10614"/>
              <a:gd name="connsiteX4" fmla="*/ 8426 w 10179"/>
              <a:gd name="connsiteY4" fmla="*/ 2023 h 10614"/>
              <a:gd name="connsiteX5" fmla="*/ 8537 w 10179"/>
              <a:gd name="connsiteY5" fmla="*/ 2303 h 10614"/>
              <a:gd name="connsiteX6" fmla="*/ 8572 w 10179"/>
              <a:gd name="connsiteY6" fmla="*/ 2641 h 10614"/>
              <a:gd name="connsiteX7" fmla="*/ 8976 w 10179"/>
              <a:gd name="connsiteY7" fmla="*/ 3197 h 10614"/>
              <a:gd name="connsiteX8" fmla="*/ 9458 w 10179"/>
              <a:gd name="connsiteY8" fmla="*/ 3546 h 10614"/>
              <a:gd name="connsiteX9" fmla="*/ 9561 w 10179"/>
              <a:gd name="connsiteY9" fmla="*/ 4203 h 10614"/>
              <a:gd name="connsiteX10" fmla="*/ 9743 w 10179"/>
              <a:gd name="connsiteY10" fmla="*/ 4592 h 10614"/>
              <a:gd name="connsiteX11" fmla="*/ 9890 w 10179"/>
              <a:gd name="connsiteY11" fmla="*/ 4873 h 10614"/>
              <a:gd name="connsiteX12" fmla="*/ 10179 w 10179"/>
              <a:gd name="connsiteY12" fmla="*/ 5747 h 10614"/>
              <a:gd name="connsiteX13" fmla="*/ 9924 w 10179"/>
              <a:gd name="connsiteY13" fmla="*/ 6364 h 10614"/>
              <a:gd name="connsiteX14" fmla="*/ 9670 w 10179"/>
              <a:gd name="connsiteY14" fmla="*/ 6491 h 10614"/>
              <a:gd name="connsiteX15" fmla="*/ 9670 w 10179"/>
              <a:gd name="connsiteY15" fmla="*/ 6993 h 10614"/>
              <a:gd name="connsiteX16" fmla="*/ 9354 w 10179"/>
              <a:gd name="connsiteY16" fmla="*/ 7377 h 10614"/>
              <a:gd name="connsiteX17" fmla="*/ 8902 w 10179"/>
              <a:gd name="connsiteY17" fmla="*/ 7216 h 10614"/>
              <a:gd name="connsiteX18" fmla="*/ 8667 w 10179"/>
              <a:gd name="connsiteY18" fmla="*/ 7255 h 10614"/>
              <a:gd name="connsiteX19" fmla="*/ 8813 w 10179"/>
              <a:gd name="connsiteY19" fmla="*/ 8321 h 10614"/>
              <a:gd name="connsiteX20" fmla="*/ 8218 w 10179"/>
              <a:gd name="connsiteY20" fmla="*/ 9441 h 10614"/>
              <a:gd name="connsiteX21" fmla="*/ 8143 w 10179"/>
              <a:gd name="connsiteY21" fmla="*/ 10595 h 10614"/>
              <a:gd name="connsiteX22" fmla="*/ 7496 w 10179"/>
              <a:gd name="connsiteY22" fmla="*/ 10000 h 10614"/>
              <a:gd name="connsiteX23" fmla="*/ 3102 w 10179"/>
              <a:gd name="connsiteY23" fmla="*/ 9906 h 10614"/>
              <a:gd name="connsiteX24" fmla="*/ 1223 w 10179"/>
              <a:gd name="connsiteY24" fmla="*/ 9801 h 10614"/>
              <a:gd name="connsiteX25" fmla="*/ 1120 w 10179"/>
              <a:gd name="connsiteY25" fmla="*/ 9386 h 10614"/>
              <a:gd name="connsiteX26" fmla="*/ 1145 w 10179"/>
              <a:gd name="connsiteY26" fmla="*/ 8878 h 10614"/>
              <a:gd name="connsiteX27" fmla="*/ 1167 w 10179"/>
              <a:gd name="connsiteY27" fmla="*/ 8481 h 10614"/>
              <a:gd name="connsiteX28" fmla="*/ 1246 w 10179"/>
              <a:gd name="connsiteY28" fmla="*/ 7996 h 10614"/>
              <a:gd name="connsiteX29" fmla="*/ 1173 w 10179"/>
              <a:gd name="connsiteY29" fmla="*/ 7552 h 10614"/>
              <a:gd name="connsiteX30" fmla="*/ 1051 w 10179"/>
              <a:gd name="connsiteY30" fmla="*/ 7110 h 10614"/>
              <a:gd name="connsiteX31" fmla="*/ 1062 w 10179"/>
              <a:gd name="connsiteY31" fmla="*/ 6714 h 10614"/>
              <a:gd name="connsiteX32" fmla="*/ 1062 w 10179"/>
              <a:gd name="connsiteY32" fmla="*/ 6604 h 10614"/>
              <a:gd name="connsiteX33" fmla="*/ 838 w 10179"/>
              <a:gd name="connsiteY33" fmla="*/ 5739 h 10614"/>
              <a:gd name="connsiteX34" fmla="*/ 696 w 10179"/>
              <a:gd name="connsiteY34" fmla="*/ 4704 h 10614"/>
              <a:gd name="connsiteX35" fmla="*/ 543 w 10179"/>
              <a:gd name="connsiteY35" fmla="*/ 4059 h 10614"/>
              <a:gd name="connsiteX36" fmla="*/ 521 w 10179"/>
              <a:gd name="connsiteY36" fmla="*/ 3565 h 10614"/>
              <a:gd name="connsiteX37" fmla="*/ 0 w 10179"/>
              <a:gd name="connsiteY37" fmla="*/ 2696 h 10614"/>
              <a:gd name="connsiteX38" fmla="*/ 477 w 10179"/>
              <a:gd name="connsiteY38" fmla="*/ 2080 h 10614"/>
              <a:gd name="connsiteX39" fmla="*/ 477 w 10179"/>
              <a:gd name="connsiteY39" fmla="*/ 1802 h 10614"/>
              <a:gd name="connsiteX40" fmla="*/ 477 w 10179"/>
              <a:gd name="connsiteY40" fmla="*/ 963 h 10614"/>
              <a:gd name="connsiteX41" fmla="*/ 715 w 10179"/>
              <a:gd name="connsiteY41" fmla="*/ 134 h 10614"/>
              <a:gd name="connsiteX42" fmla="*/ 4777 w 10179"/>
              <a:gd name="connsiteY42" fmla="*/ 170 h 10614"/>
              <a:gd name="connsiteX43" fmla="*/ 8448 w 10179"/>
              <a:gd name="connsiteY43" fmla="*/ 0 h 10614"/>
              <a:gd name="connsiteX0" fmla="*/ 8448 w 10179"/>
              <a:gd name="connsiteY0" fmla="*/ 0 h 10614"/>
              <a:gd name="connsiteX1" fmla="*/ 8570 w 10179"/>
              <a:gd name="connsiteY1" fmla="*/ 395 h 10614"/>
              <a:gd name="connsiteX2" fmla="*/ 8682 w 10179"/>
              <a:gd name="connsiteY2" fmla="*/ 963 h 10614"/>
              <a:gd name="connsiteX3" fmla="*/ 8631 w 10179"/>
              <a:gd name="connsiteY3" fmla="*/ 1285 h 10614"/>
              <a:gd name="connsiteX4" fmla="*/ 8426 w 10179"/>
              <a:gd name="connsiteY4" fmla="*/ 2023 h 10614"/>
              <a:gd name="connsiteX5" fmla="*/ 8537 w 10179"/>
              <a:gd name="connsiteY5" fmla="*/ 2303 h 10614"/>
              <a:gd name="connsiteX6" fmla="*/ 8572 w 10179"/>
              <a:gd name="connsiteY6" fmla="*/ 2641 h 10614"/>
              <a:gd name="connsiteX7" fmla="*/ 8976 w 10179"/>
              <a:gd name="connsiteY7" fmla="*/ 3197 h 10614"/>
              <a:gd name="connsiteX8" fmla="*/ 9458 w 10179"/>
              <a:gd name="connsiteY8" fmla="*/ 3546 h 10614"/>
              <a:gd name="connsiteX9" fmla="*/ 9561 w 10179"/>
              <a:gd name="connsiteY9" fmla="*/ 4203 h 10614"/>
              <a:gd name="connsiteX10" fmla="*/ 9743 w 10179"/>
              <a:gd name="connsiteY10" fmla="*/ 4592 h 10614"/>
              <a:gd name="connsiteX11" fmla="*/ 9890 w 10179"/>
              <a:gd name="connsiteY11" fmla="*/ 4873 h 10614"/>
              <a:gd name="connsiteX12" fmla="*/ 10179 w 10179"/>
              <a:gd name="connsiteY12" fmla="*/ 5747 h 10614"/>
              <a:gd name="connsiteX13" fmla="*/ 9924 w 10179"/>
              <a:gd name="connsiteY13" fmla="*/ 6364 h 10614"/>
              <a:gd name="connsiteX14" fmla="*/ 9670 w 10179"/>
              <a:gd name="connsiteY14" fmla="*/ 6993 h 10614"/>
              <a:gd name="connsiteX15" fmla="*/ 9354 w 10179"/>
              <a:gd name="connsiteY15" fmla="*/ 7377 h 10614"/>
              <a:gd name="connsiteX16" fmla="*/ 8902 w 10179"/>
              <a:gd name="connsiteY16" fmla="*/ 7216 h 10614"/>
              <a:gd name="connsiteX17" fmla="*/ 8667 w 10179"/>
              <a:gd name="connsiteY17" fmla="*/ 7255 h 10614"/>
              <a:gd name="connsiteX18" fmla="*/ 8813 w 10179"/>
              <a:gd name="connsiteY18" fmla="*/ 8321 h 10614"/>
              <a:gd name="connsiteX19" fmla="*/ 8218 w 10179"/>
              <a:gd name="connsiteY19" fmla="*/ 9441 h 10614"/>
              <a:gd name="connsiteX20" fmla="*/ 8143 w 10179"/>
              <a:gd name="connsiteY20" fmla="*/ 10595 h 10614"/>
              <a:gd name="connsiteX21" fmla="*/ 7496 w 10179"/>
              <a:gd name="connsiteY21" fmla="*/ 10000 h 10614"/>
              <a:gd name="connsiteX22" fmla="*/ 3102 w 10179"/>
              <a:gd name="connsiteY22" fmla="*/ 9906 h 10614"/>
              <a:gd name="connsiteX23" fmla="*/ 1223 w 10179"/>
              <a:gd name="connsiteY23" fmla="*/ 9801 h 10614"/>
              <a:gd name="connsiteX24" fmla="*/ 1120 w 10179"/>
              <a:gd name="connsiteY24" fmla="*/ 9386 h 10614"/>
              <a:gd name="connsiteX25" fmla="*/ 1145 w 10179"/>
              <a:gd name="connsiteY25" fmla="*/ 8878 h 10614"/>
              <a:gd name="connsiteX26" fmla="*/ 1167 w 10179"/>
              <a:gd name="connsiteY26" fmla="*/ 8481 h 10614"/>
              <a:gd name="connsiteX27" fmla="*/ 1246 w 10179"/>
              <a:gd name="connsiteY27" fmla="*/ 7996 h 10614"/>
              <a:gd name="connsiteX28" fmla="*/ 1173 w 10179"/>
              <a:gd name="connsiteY28" fmla="*/ 7552 h 10614"/>
              <a:gd name="connsiteX29" fmla="*/ 1051 w 10179"/>
              <a:gd name="connsiteY29" fmla="*/ 7110 h 10614"/>
              <a:gd name="connsiteX30" fmla="*/ 1062 w 10179"/>
              <a:gd name="connsiteY30" fmla="*/ 6714 h 10614"/>
              <a:gd name="connsiteX31" fmla="*/ 1062 w 10179"/>
              <a:gd name="connsiteY31" fmla="*/ 6604 h 10614"/>
              <a:gd name="connsiteX32" fmla="*/ 838 w 10179"/>
              <a:gd name="connsiteY32" fmla="*/ 5739 h 10614"/>
              <a:gd name="connsiteX33" fmla="*/ 696 w 10179"/>
              <a:gd name="connsiteY33" fmla="*/ 4704 h 10614"/>
              <a:gd name="connsiteX34" fmla="*/ 543 w 10179"/>
              <a:gd name="connsiteY34" fmla="*/ 4059 h 10614"/>
              <a:gd name="connsiteX35" fmla="*/ 521 w 10179"/>
              <a:gd name="connsiteY35" fmla="*/ 3565 h 10614"/>
              <a:gd name="connsiteX36" fmla="*/ 0 w 10179"/>
              <a:gd name="connsiteY36" fmla="*/ 2696 h 10614"/>
              <a:gd name="connsiteX37" fmla="*/ 477 w 10179"/>
              <a:gd name="connsiteY37" fmla="*/ 2080 h 10614"/>
              <a:gd name="connsiteX38" fmla="*/ 477 w 10179"/>
              <a:gd name="connsiteY38" fmla="*/ 1802 h 10614"/>
              <a:gd name="connsiteX39" fmla="*/ 477 w 10179"/>
              <a:gd name="connsiteY39" fmla="*/ 963 h 10614"/>
              <a:gd name="connsiteX40" fmla="*/ 715 w 10179"/>
              <a:gd name="connsiteY40" fmla="*/ 134 h 10614"/>
              <a:gd name="connsiteX41" fmla="*/ 4777 w 10179"/>
              <a:gd name="connsiteY41" fmla="*/ 170 h 10614"/>
              <a:gd name="connsiteX42" fmla="*/ 8448 w 10179"/>
              <a:gd name="connsiteY42" fmla="*/ 0 h 1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0179" h="10614">
                <a:moveTo>
                  <a:pt x="8448" y="0"/>
                </a:moveTo>
                <a:cubicBezTo>
                  <a:pt x="8416" y="173"/>
                  <a:pt x="8602" y="222"/>
                  <a:pt x="8570" y="395"/>
                </a:cubicBezTo>
                <a:cubicBezTo>
                  <a:pt x="8607" y="584"/>
                  <a:pt x="8645" y="773"/>
                  <a:pt x="8682" y="963"/>
                </a:cubicBezTo>
                <a:cubicBezTo>
                  <a:pt x="8665" y="1069"/>
                  <a:pt x="8648" y="1178"/>
                  <a:pt x="8631" y="1285"/>
                </a:cubicBezTo>
                <a:cubicBezTo>
                  <a:pt x="8563" y="1531"/>
                  <a:pt x="8494" y="1778"/>
                  <a:pt x="8426" y="2023"/>
                </a:cubicBezTo>
                <a:lnTo>
                  <a:pt x="8537" y="2303"/>
                </a:lnTo>
                <a:cubicBezTo>
                  <a:pt x="8549" y="2415"/>
                  <a:pt x="8560" y="2527"/>
                  <a:pt x="8572" y="2641"/>
                </a:cubicBezTo>
                <a:lnTo>
                  <a:pt x="8976" y="3197"/>
                </a:lnTo>
                <a:lnTo>
                  <a:pt x="9458" y="3546"/>
                </a:lnTo>
                <a:cubicBezTo>
                  <a:pt x="9492" y="3764"/>
                  <a:pt x="9527" y="3984"/>
                  <a:pt x="9561" y="4203"/>
                </a:cubicBezTo>
                <a:cubicBezTo>
                  <a:pt x="9622" y="4332"/>
                  <a:pt x="9682" y="4463"/>
                  <a:pt x="9743" y="4592"/>
                </a:cubicBezTo>
                <a:lnTo>
                  <a:pt x="9890" y="4873"/>
                </a:lnTo>
                <a:cubicBezTo>
                  <a:pt x="9927" y="5151"/>
                  <a:pt x="10142" y="5467"/>
                  <a:pt x="10179" y="5747"/>
                </a:cubicBezTo>
                <a:lnTo>
                  <a:pt x="9924" y="6364"/>
                </a:lnTo>
                <a:lnTo>
                  <a:pt x="9670" y="6993"/>
                </a:lnTo>
                <a:cubicBezTo>
                  <a:pt x="9670" y="6993"/>
                  <a:pt x="9499" y="7211"/>
                  <a:pt x="9354" y="7377"/>
                </a:cubicBezTo>
                <a:cubicBezTo>
                  <a:pt x="9206" y="7544"/>
                  <a:pt x="9017" y="7236"/>
                  <a:pt x="8902" y="7216"/>
                </a:cubicBezTo>
                <a:cubicBezTo>
                  <a:pt x="8788" y="7196"/>
                  <a:pt x="8682" y="7071"/>
                  <a:pt x="8667" y="7255"/>
                </a:cubicBezTo>
                <a:cubicBezTo>
                  <a:pt x="8652" y="7439"/>
                  <a:pt x="8888" y="7957"/>
                  <a:pt x="8813" y="8321"/>
                </a:cubicBezTo>
                <a:cubicBezTo>
                  <a:pt x="8738" y="8685"/>
                  <a:pt x="8359" y="9179"/>
                  <a:pt x="8218" y="9441"/>
                </a:cubicBezTo>
                <a:cubicBezTo>
                  <a:pt x="8077" y="9703"/>
                  <a:pt x="8263" y="10502"/>
                  <a:pt x="8143" y="10595"/>
                </a:cubicBezTo>
                <a:cubicBezTo>
                  <a:pt x="8023" y="10688"/>
                  <a:pt x="8324" y="10436"/>
                  <a:pt x="7496" y="10000"/>
                </a:cubicBezTo>
                <a:cubicBezTo>
                  <a:pt x="6303" y="9962"/>
                  <a:pt x="4567" y="9937"/>
                  <a:pt x="3102" y="9906"/>
                </a:cubicBezTo>
                <a:cubicBezTo>
                  <a:pt x="2057" y="9874"/>
                  <a:pt x="1553" y="9888"/>
                  <a:pt x="1223" y="9801"/>
                </a:cubicBezTo>
                <a:cubicBezTo>
                  <a:pt x="1189" y="9662"/>
                  <a:pt x="1154" y="9523"/>
                  <a:pt x="1120" y="9386"/>
                </a:cubicBezTo>
                <a:cubicBezTo>
                  <a:pt x="1133" y="9273"/>
                  <a:pt x="1132" y="8991"/>
                  <a:pt x="1145" y="8878"/>
                </a:cubicBezTo>
                <a:cubicBezTo>
                  <a:pt x="1120" y="8711"/>
                  <a:pt x="1192" y="8649"/>
                  <a:pt x="1167" y="8481"/>
                </a:cubicBezTo>
                <a:cubicBezTo>
                  <a:pt x="1118" y="8275"/>
                  <a:pt x="1295" y="8203"/>
                  <a:pt x="1246" y="7996"/>
                </a:cubicBezTo>
                <a:cubicBezTo>
                  <a:pt x="1222" y="7849"/>
                  <a:pt x="1197" y="7699"/>
                  <a:pt x="1173" y="7552"/>
                </a:cubicBezTo>
                <a:cubicBezTo>
                  <a:pt x="1173" y="7552"/>
                  <a:pt x="1197" y="7277"/>
                  <a:pt x="1051" y="7110"/>
                </a:cubicBezTo>
                <a:cubicBezTo>
                  <a:pt x="906" y="6943"/>
                  <a:pt x="1062" y="6714"/>
                  <a:pt x="1062" y="6714"/>
                </a:cubicBezTo>
                <a:lnTo>
                  <a:pt x="1062" y="6604"/>
                </a:lnTo>
                <a:cubicBezTo>
                  <a:pt x="1044" y="6418"/>
                  <a:pt x="899" y="6056"/>
                  <a:pt x="838" y="5739"/>
                </a:cubicBezTo>
                <a:cubicBezTo>
                  <a:pt x="691" y="5349"/>
                  <a:pt x="771" y="4984"/>
                  <a:pt x="696" y="4704"/>
                </a:cubicBezTo>
                <a:cubicBezTo>
                  <a:pt x="623" y="4426"/>
                  <a:pt x="543" y="4059"/>
                  <a:pt x="543" y="4059"/>
                </a:cubicBezTo>
                <a:cubicBezTo>
                  <a:pt x="536" y="3895"/>
                  <a:pt x="528" y="3730"/>
                  <a:pt x="521" y="3565"/>
                </a:cubicBezTo>
                <a:lnTo>
                  <a:pt x="0" y="2696"/>
                </a:lnTo>
                <a:lnTo>
                  <a:pt x="477" y="2080"/>
                </a:lnTo>
                <a:lnTo>
                  <a:pt x="477" y="1802"/>
                </a:lnTo>
                <a:lnTo>
                  <a:pt x="477" y="963"/>
                </a:lnTo>
                <a:cubicBezTo>
                  <a:pt x="495" y="804"/>
                  <a:pt x="697" y="294"/>
                  <a:pt x="715" y="134"/>
                </a:cubicBezTo>
                <a:cubicBezTo>
                  <a:pt x="752" y="-33"/>
                  <a:pt x="4740" y="338"/>
                  <a:pt x="4777" y="170"/>
                </a:cubicBezTo>
                <a:lnTo>
                  <a:pt x="844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US" sz="1800">
              <a:ea typeface="ＭＳ Ｐゴシック" charset="-128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5550592" y="1197388"/>
            <a:ext cx="1120679" cy="936212"/>
          </a:xfrm>
          <a:prstGeom prst="rect">
            <a:avLst/>
          </a:prstGeom>
          <a:ln/>
          <a:effectLst>
            <a:outerShdw blurRad="50800" dist="38100" dir="3600000" algn="ctr" rotWithShape="0">
              <a:schemeClr val="tx2">
                <a:lumMod val="50000"/>
                <a:alpha val="6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1924312" y="1847755"/>
            <a:ext cx="885176" cy="1414730"/>
          </a:xfrm>
          <a:custGeom>
            <a:avLst/>
            <a:gdLst>
              <a:gd name="connsiteX0" fmla="*/ 238328 w 890081"/>
              <a:gd name="connsiteY0" fmla="*/ 0 h 1449421"/>
              <a:gd name="connsiteX1" fmla="*/ 141052 w 890081"/>
              <a:gd name="connsiteY1" fmla="*/ 549613 h 1449421"/>
              <a:gd name="connsiteX2" fmla="*/ 160507 w 890081"/>
              <a:gd name="connsiteY2" fmla="*/ 569068 h 1449421"/>
              <a:gd name="connsiteX3" fmla="*/ 175098 w 890081"/>
              <a:gd name="connsiteY3" fmla="*/ 593387 h 1449421"/>
              <a:gd name="connsiteX4" fmla="*/ 175098 w 890081"/>
              <a:gd name="connsiteY4" fmla="*/ 671208 h 1449421"/>
              <a:gd name="connsiteX5" fmla="*/ 126460 w 890081"/>
              <a:gd name="connsiteY5" fmla="*/ 700391 h 1449421"/>
              <a:gd name="connsiteX6" fmla="*/ 107005 w 890081"/>
              <a:gd name="connsiteY6" fmla="*/ 792804 h 1449421"/>
              <a:gd name="connsiteX7" fmla="*/ 58366 w 890081"/>
              <a:gd name="connsiteY7" fmla="*/ 817123 h 1449421"/>
              <a:gd name="connsiteX8" fmla="*/ 53503 w 890081"/>
              <a:gd name="connsiteY8" fmla="*/ 880353 h 1449421"/>
              <a:gd name="connsiteX9" fmla="*/ 58366 w 890081"/>
              <a:gd name="connsiteY9" fmla="*/ 899808 h 1449421"/>
              <a:gd name="connsiteX10" fmla="*/ 72958 w 890081"/>
              <a:gd name="connsiteY10" fmla="*/ 894944 h 1449421"/>
              <a:gd name="connsiteX11" fmla="*/ 82686 w 890081"/>
              <a:gd name="connsiteY11" fmla="*/ 919264 h 1449421"/>
              <a:gd name="connsiteX12" fmla="*/ 43775 w 890081"/>
              <a:gd name="connsiteY12" fmla="*/ 997085 h 1449421"/>
              <a:gd name="connsiteX13" fmla="*/ 0 w 890081"/>
              <a:gd name="connsiteY13" fmla="*/ 1293779 h 1449421"/>
              <a:gd name="connsiteX14" fmla="*/ 846307 w 890081"/>
              <a:gd name="connsiteY14" fmla="*/ 1449421 h 1449421"/>
              <a:gd name="connsiteX15" fmla="*/ 890081 w 890081"/>
              <a:gd name="connsiteY15" fmla="*/ 967902 h 1449421"/>
              <a:gd name="connsiteX16" fmla="*/ 851171 w 890081"/>
              <a:gd name="connsiteY16" fmla="*/ 933855 h 1449421"/>
              <a:gd name="connsiteX17" fmla="*/ 821988 w 890081"/>
              <a:gd name="connsiteY17" fmla="*/ 963038 h 1449421"/>
              <a:gd name="connsiteX18" fmla="*/ 783077 w 890081"/>
              <a:gd name="connsiteY18" fmla="*/ 972766 h 1449421"/>
              <a:gd name="connsiteX19" fmla="*/ 749030 w 890081"/>
              <a:gd name="connsiteY19" fmla="*/ 953310 h 1449421"/>
              <a:gd name="connsiteX20" fmla="*/ 666345 w 890081"/>
              <a:gd name="connsiteY20" fmla="*/ 967902 h 1449421"/>
              <a:gd name="connsiteX21" fmla="*/ 607979 w 890081"/>
              <a:gd name="connsiteY21" fmla="*/ 914400 h 1449421"/>
              <a:gd name="connsiteX22" fmla="*/ 583660 w 890081"/>
              <a:gd name="connsiteY22" fmla="*/ 890081 h 1449421"/>
              <a:gd name="connsiteX23" fmla="*/ 588524 w 890081"/>
              <a:gd name="connsiteY23" fmla="*/ 841442 h 1449421"/>
              <a:gd name="connsiteX24" fmla="*/ 564205 w 890081"/>
              <a:gd name="connsiteY24" fmla="*/ 792804 h 1449421"/>
              <a:gd name="connsiteX25" fmla="*/ 564205 w 890081"/>
              <a:gd name="connsiteY25" fmla="*/ 763621 h 1449421"/>
              <a:gd name="connsiteX26" fmla="*/ 544749 w 890081"/>
              <a:gd name="connsiteY26" fmla="*/ 700391 h 1449421"/>
              <a:gd name="connsiteX27" fmla="*/ 466928 w 890081"/>
              <a:gd name="connsiteY27" fmla="*/ 705255 h 1449421"/>
              <a:gd name="connsiteX28" fmla="*/ 462064 w 890081"/>
              <a:gd name="connsiteY28" fmla="*/ 661481 h 1449421"/>
              <a:gd name="connsiteX29" fmla="*/ 491247 w 890081"/>
              <a:gd name="connsiteY29" fmla="*/ 646889 h 1449421"/>
              <a:gd name="connsiteX30" fmla="*/ 481520 w 890081"/>
              <a:gd name="connsiteY30" fmla="*/ 588523 h 1449421"/>
              <a:gd name="connsiteX31" fmla="*/ 505839 w 890081"/>
              <a:gd name="connsiteY31" fmla="*/ 510702 h 1449421"/>
              <a:gd name="connsiteX32" fmla="*/ 428018 w 890081"/>
              <a:gd name="connsiteY32" fmla="*/ 432881 h 1449421"/>
              <a:gd name="connsiteX33" fmla="*/ 384243 w 890081"/>
              <a:gd name="connsiteY33" fmla="*/ 364787 h 1449421"/>
              <a:gd name="connsiteX34" fmla="*/ 355060 w 890081"/>
              <a:gd name="connsiteY34" fmla="*/ 325876 h 1449421"/>
              <a:gd name="connsiteX35" fmla="*/ 355060 w 890081"/>
              <a:gd name="connsiteY35" fmla="*/ 218872 h 1449421"/>
              <a:gd name="connsiteX36" fmla="*/ 350196 w 890081"/>
              <a:gd name="connsiteY36" fmla="*/ 179961 h 1449421"/>
              <a:gd name="connsiteX37" fmla="*/ 369652 w 890081"/>
              <a:gd name="connsiteY37" fmla="*/ 102140 h 1449421"/>
              <a:gd name="connsiteX38" fmla="*/ 364788 w 890081"/>
              <a:gd name="connsiteY38" fmla="*/ 34047 h 1449421"/>
              <a:gd name="connsiteX39" fmla="*/ 238328 w 890081"/>
              <a:gd name="connsiteY39" fmla="*/ 0 h 1449421"/>
              <a:gd name="connsiteX0" fmla="*/ 238328 w 915754"/>
              <a:gd name="connsiteY0" fmla="*/ 0 h 1449421"/>
              <a:gd name="connsiteX1" fmla="*/ 141052 w 915754"/>
              <a:gd name="connsiteY1" fmla="*/ 549613 h 1449421"/>
              <a:gd name="connsiteX2" fmla="*/ 160507 w 915754"/>
              <a:gd name="connsiteY2" fmla="*/ 569068 h 1449421"/>
              <a:gd name="connsiteX3" fmla="*/ 175098 w 915754"/>
              <a:gd name="connsiteY3" fmla="*/ 593387 h 1449421"/>
              <a:gd name="connsiteX4" fmla="*/ 175098 w 915754"/>
              <a:gd name="connsiteY4" fmla="*/ 671208 h 1449421"/>
              <a:gd name="connsiteX5" fmla="*/ 126460 w 915754"/>
              <a:gd name="connsiteY5" fmla="*/ 700391 h 1449421"/>
              <a:gd name="connsiteX6" fmla="*/ 107005 w 915754"/>
              <a:gd name="connsiteY6" fmla="*/ 792804 h 1449421"/>
              <a:gd name="connsiteX7" fmla="*/ 58366 w 915754"/>
              <a:gd name="connsiteY7" fmla="*/ 817123 h 1449421"/>
              <a:gd name="connsiteX8" fmla="*/ 53503 w 915754"/>
              <a:gd name="connsiteY8" fmla="*/ 880353 h 1449421"/>
              <a:gd name="connsiteX9" fmla="*/ 58366 w 915754"/>
              <a:gd name="connsiteY9" fmla="*/ 899808 h 1449421"/>
              <a:gd name="connsiteX10" fmla="*/ 72958 w 915754"/>
              <a:gd name="connsiteY10" fmla="*/ 894944 h 1449421"/>
              <a:gd name="connsiteX11" fmla="*/ 82686 w 915754"/>
              <a:gd name="connsiteY11" fmla="*/ 919264 h 1449421"/>
              <a:gd name="connsiteX12" fmla="*/ 43775 w 915754"/>
              <a:gd name="connsiteY12" fmla="*/ 997085 h 1449421"/>
              <a:gd name="connsiteX13" fmla="*/ 0 w 915754"/>
              <a:gd name="connsiteY13" fmla="*/ 1293779 h 1449421"/>
              <a:gd name="connsiteX14" fmla="*/ 846307 w 915754"/>
              <a:gd name="connsiteY14" fmla="*/ 1449421 h 1449421"/>
              <a:gd name="connsiteX15" fmla="*/ 915754 w 915754"/>
              <a:gd name="connsiteY15" fmla="*/ 970305 h 1449421"/>
              <a:gd name="connsiteX16" fmla="*/ 851171 w 915754"/>
              <a:gd name="connsiteY16" fmla="*/ 933855 h 1449421"/>
              <a:gd name="connsiteX17" fmla="*/ 821988 w 915754"/>
              <a:gd name="connsiteY17" fmla="*/ 963038 h 1449421"/>
              <a:gd name="connsiteX18" fmla="*/ 783077 w 915754"/>
              <a:gd name="connsiteY18" fmla="*/ 972766 h 1449421"/>
              <a:gd name="connsiteX19" fmla="*/ 749030 w 915754"/>
              <a:gd name="connsiteY19" fmla="*/ 953310 h 1449421"/>
              <a:gd name="connsiteX20" fmla="*/ 666345 w 915754"/>
              <a:gd name="connsiteY20" fmla="*/ 967902 h 1449421"/>
              <a:gd name="connsiteX21" fmla="*/ 607979 w 915754"/>
              <a:gd name="connsiteY21" fmla="*/ 914400 h 1449421"/>
              <a:gd name="connsiteX22" fmla="*/ 583660 w 915754"/>
              <a:gd name="connsiteY22" fmla="*/ 890081 h 1449421"/>
              <a:gd name="connsiteX23" fmla="*/ 588524 w 915754"/>
              <a:gd name="connsiteY23" fmla="*/ 841442 h 1449421"/>
              <a:gd name="connsiteX24" fmla="*/ 564205 w 915754"/>
              <a:gd name="connsiteY24" fmla="*/ 792804 h 1449421"/>
              <a:gd name="connsiteX25" fmla="*/ 564205 w 915754"/>
              <a:gd name="connsiteY25" fmla="*/ 763621 h 1449421"/>
              <a:gd name="connsiteX26" fmla="*/ 544749 w 915754"/>
              <a:gd name="connsiteY26" fmla="*/ 700391 h 1449421"/>
              <a:gd name="connsiteX27" fmla="*/ 466928 w 915754"/>
              <a:gd name="connsiteY27" fmla="*/ 705255 h 1449421"/>
              <a:gd name="connsiteX28" fmla="*/ 462064 w 915754"/>
              <a:gd name="connsiteY28" fmla="*/ 661481 h 1449421"/>
              <a:gd name="connsiteX29" fmla="*/ 491247 w 915754"/>
              <a:gd name="connsiteY29" fmla="*/ 646889 h 1449421"/>
              <a:gd name="connsiteX30" fmla="*/ 481520 w 915754"/>
              <a:gd name="connsiteY30" fmla="*/ 588523 h 1449421"/>
              <a:gd name="connsiteX31" fmla="*/ 505839 w 915754"/>
              <a:gd name="connsiteY31" fmla="*/ 510702 h 1449421"/>
              <a:gd name="connsiteX32" fmla="*/ 428018 w 915754"/>
              <a:gd name="connsiteY32" fmla="*/ 432881 h 1449421"/>
              <a:gd name="connsiteX33" fmla="*/ 384243 w 915754"/>
              <a:gd name="connsiteY33" fmla="*/ 364787 h 1449421"/>
              <a:gd name="connsiteX34" fmla="*/ 355060 w 915754"/>
              <a:gd name="connsiteY34" fmla="*/ 325876 h 1449421"/>
              <a:gd name="connsiteX35" fmla="*/ 355060 w 915754"/>
              <a:gd name="connsiteY35" fmla="*/ 218872 h 1449421"/>
              <a:gd name="connsiteX36" fmla="*/ 350196 w 915754"/>
              <a:gd name="connsiteY36" fmla="*/ 179961 h 1449421"/>
              <a:gd name="connsiteX37" fmla="*/ 369652 w 915754"/>
              <a:gd name="connsiteY37" fmla="*/ 102140 h 1449421"/>
              <a:gd name="connsiteX38" fmla="*/ 364788 w 915754"/>
              <a:gd name="connsiteY38" fmla="*/ 34047 h 1449421"/>
              <a:gd name="connsiteX39" fmla="*/ 238328 w 915754"/>
              <a:gd name="connsiteY39" fmla="*/ 0 h 1449421"/>
              <a:gd name="connsiteX0" fmla="*/ 238328 w 915754"/>
              <a:gd name="connsiteY0" fmla="*/ 0 h 1449421"/>
              <a:gd name="connsiteX1" fmla="*/ 141052 w 915754"/>
              <a:gd name="connsiteY1" fmla="*/ 549613 h 1449421"/>
              <a:gd name="connsiteX2" fmla="*/ 160507 w 915754"/>
              <a:gd name="connsiteY2" fmla="*/ 569068 h 1449421"/>
              <a:gd name="connsiteX3" fmla="*/ 175098 w 915754"/>
              <a:gd name="connsiteY3" fmla="*/ 593387 h 1449421"/>
              <a:gd name="connsiteX4" fmla="*/ 175098 w 915754"/>
              <a:gd name="connsiteY4" fmla="*/ 671208 h 1449421"/>
              <a:gd name="connsiteX5" fmla="*/ 126460 w 915754"/>
              <a:gd name="connsiteY5" fmla="*/ 700391 h 1449421"/>
              <a:gd name="connsiteX6" fmla="*/ 107005 w 915754"/>
              <a:gd name="connsiteY6" fmla="*/ 792804 h 1449421"/>
              <a:gd name="connsiteX7" fmla="*/ 58366 w 915754"/>
              <a:gd name="connsiteY7" fmla="*/ 817123 h 1449421"/>
              <a:gd name="connsiteX8" fmla="*/ 53503 w 915754"/>
              <a:gd name="connsiteY8" fmla="*/ 880353 h 1449421"/>
              <a:gd name="connsiteX9" fmla="*/ 58366 w 915754"/>
              <a:gd name="connsiteY9" fmla="*/ 899808 h 1449421"/>
              <a:gd name="connsiteX10" fmla="*/ 72958 w 915754"/>
              <a:gd name="connsiteY10" fmla="*/ 894944 h 1449421"/>
              <a:gd name="connsiteX11" fmla="*/ 82686 w 915754"/>
              <a:gd name="connsiteY11" fmla="*/ 919264 h 1449421"/>
              <a:gd name="connsiteX12" fmla="*/ 43775 w 915754"/>
              <a:gd name="connsiteY12" fmla="*/ 997085 h 1449421"/>
              <a:gd name="connsiteX13" fmla="*/ 0 w 915754"/>
              <a:gd name="connsiteY13" fmla="*/ 1293779 h 1449421"/>
              <a:gd name="connsiteX14" fmla="*/ 846307 w 915754"/>
              <a:gd name="connsiteY14" fmla="*/ 1449421 h 1449421"/>
              <a:gd name="connsiteX15" fmla="*/ 915754 w 915754"/>
              <a:gd name="connsiteY15" fmla="*/ 970305 h 1449421"/>
              <a:gd name="connsiteX16" fmla="*/ 875802 w 915754"/>
              <a:gd name="connsiteY16" fmla="*/ 924740 h 1449421"/>
              <a:gd name="connsiteX17" fmla="*/ 851171 w 915754"/>
              <a:gd name="connsiteY17" fmla="*/ 933855 h 1449421"/>
              <a:gd name="connsiteX18" fmla="*/ 821988 w 915754"/>
              <a:gd name="connsiteY18" fmla="*/ 963038 h 1449421"/>
              <a:gd name="connsiteX19" fmla="*/ 783077 w 915754"/>
              <a:gd name="connsiteY19" fmla="*/ 972766 h 1449421"/>
              <a:gd name="connsiteX20" fmla="*/ 749030 w 915754"/>
              <a:gd name="connsiteY20" fmla="*/ 953310 h 1449421"/>
              <a:gd name="connsiteX21" fmla="*/ 666345 w 915754"/>
              <a:gd name="connsiteY21" fmla="*/ 967902 h 1449421"/>
              <a:gd name="connsiteX22" fmla="*/ 607979 w 915754"/>
              <a:gd name="connsiteY22" fmla="*/ 914400 h 1449421"/>
              <a:gd name="connsiteX23" fmla="*/ 583660 w 915754"/>
              <a:gd name="connsiteY23" fmla="*/ 890081 h 1449421"/>
              <a:gd name="connsiteX24" fmla="*/ 588524 w 915754"/>
              <a:gd name="connsiteY24" fmla="*/ 841442 h 1449421"/>
              <a:gd name="connsiteX25" fmla="*/ 564205 w 915754"/>
              <a:gd name="connsiteY25" fmla="*/ 792804 h 1449421"/>
              <a:gd name="connsiteX26" fmla="*/ 564205 w 915754"/>
              <a:gd name="connsiteY26" fmla="*/ 763621 h 1449421"/>
              <a:gd name="connsiteX27" fmla="*/ 544749 w 915754"/>
              <a:gd name="connsiteY27" fmla="*/ 700391 h 1449421"/>
              <a:gd name="connsiteX28" fmla="*/ 466928 w 915754"/>
              <a:gd name="connsiteY28" fmla="*/ 705255 h 1449421"/>
              <a:gd name="connsiteX29" fmla="*/ 462064 w 915754"/>
              <a:gd name="connsiteY29" fmla="*/ 661481 h 1449421"/>
              <a:gd name="connsiteX30" fmla="*/ 491247 w 915754"/>
              <a:gd name="connsiteY30" fmla="*/ 646889 h 1449421"/>
              <a:gd name="connsiteX31" fmla="*/ 481520 w 915754"/>
              <a:gd name="connsiteY31" fmla="*/ 588523 h 1449421"/>
              <a:gd name="connsiteX32" fmla="*/ 505839 w 915754"/>
              <a:gd name="connsiteY32" fmla="*/ 510702 h 1449421"/>
              <a:gd name="connsiteX33" fmla="*/ 428018 w 915754"/>
              <a:gd name="connsiteY33" fmla="*/ 432881 h 1449421"/>
              <a:gd name="connsiteX34" fmla="*/ 384243 w 915754"/>
              <a:gd name="connsiteY34" fmla="*/ 364787 h 1449421"/>
              <a:gd name="connsiteX35" fmla="*/ 355060 w 915754"/>
              <a:gd name="connsiteY35" fmla="*/ 325876 h 1449421"/>
              <a:gd name="connsiteX36" fmla="*/ 355060 w 915754"/>
              <a:gd name="connsiteY36" fmla="*/ 218872 h 1449421"/>
              <a:gd name="connsiteX37" fmla="*/ 350196 w 915754"/>
              <a:gd name="connsiteY37" fmla="*/ 179961 h 1449421"/>
              <a:gd name="connsiteX38" fmla="*/ 369652 w 915754"/>
              <a:gd name="connsiteY38" fmla="*/ 102140 h 1449421"/>
              <a:gd name="connsiteX39" fmla="*/ 364788 w 915754"/>
              <a:gd name="connsiteY39" fmla="*/ 34047 h 1449421"/>
              <a:gd name="connsiteX40" fmla="*/ 238328 w 915754"/>
              <a:gd name="connsiteY40" fmla="*/ 0 h 1449421"/>
              <a:gd name="connsiteX0" fmla="*/ 238328 w 915754"/>
              <a:gd name="connsiteY0" fmla="*/ 0 h 1458979"/>
              <a:gd name="connsiteX1" fmla="*/ 141052 w 915754"/>
              <a:gd name="connsiteY1" fmla="*/ 549613 h 1458979"/>
              <a:gd name="connsiteX2" fmla="*/ 160507 w 915754"/>
              <a:gd name="connsiteY2" fmla="*/ 569068 h 1458979"/>
              <a:gd name="connsiteX3" fmla="*/ 175098 w 915754"/>
              <a:gd name="connsiteY3" fmla="*/ 593387 h 1458979"/>
              <a:gd name="connsiteX4" fmla="*/ 175098 w 915754"/>
              <a:gd name="connsiteY4" fmla="*/ 671208 h 1458979"/>
              <a:gd name="connsiteX5" fmla="*/ 126460 w 915754"/>
              <a:gd name="connsiteY5" fmla="*/ 700391 h 1458979"/>
              <a:gd name="connsiteX6" fmla="*/ 107005 w 915754"/>
              <a:gd name="connsiteY6" fmla="*/ 792804 h 1458979"/>
              <a:gd name="connsiteX7" fmla="*/ 58366 w 915754"/>
              <a:gd name="connsiteY7" fmla="*/ 817123 h 1458979"/>
              <a:gd name="connsiteX8" fmla="*/ 53503 w 915754"/>
              <a:gd name="connsiteY8" fmla="*/ 880353 h 1458979"/>
              <a:gd name="connsiteX9" fmla="*/ 58366 w 915754"/>
              <a:gd name="connsiteY9" fmla="*/ 899808 h 1458979"/>
              <a:gd name="connsiteX10" fmla="*/ 72958 w 915754"/>
              <a:gd name="connsiteY10" fmla="*/ 894944 h 1458979"/>
              <a:gd name="connsiteX11" fmla="*/ 82686 w 915754"/>
              <a:gd name="connsiteY11" fmla="*/ 919264 h 1458979"/>
              <a:gd name="connsiteX12" fmla="*/ 43775 w 915754"/>
              <a:gd name="connsiteY12" fmla="*/ 997085 h 1458979"/>
              <a:gd name="connsiteX13" fmla="*/ 0 w 915754"/>
              <a:gd name="connsiteY13" fmla="*/ 1293779 h 1458979"/>
              <a:gd name="connsiteX14" fmla="*/ 852966 w 915754"/>
              <a:gd name="connsiteY14" fmla="*/ 1458979 h 1458979"/>
              <a:gd name="connsiteX15" fmla="*/ 915754 w 915754"/>
              <a:gd name="connsiteY15" fmla="*/ 970305 h 1458979"/>
              <a:gd name="connsiteX16" fmla="*/ 875802 w 915754"/>
              <a:gd name="connsiteY16" fmla="*/ 924740 h 1458979"/>
              <a:gd name="connsiteX17" fmla="*/ 851171 w 915754"/>
              <a:gd name="connsiteY17" fmla="*/ 933855 h 1458979"/>
              <a:gd name="connsiteX18" fmla="*/ 821988 w 915754"/>
              <a:gd name="connsiteY18" fmla="*/ 963038 h 1458979"/>
              <a:gd name="connsiteX19" fmla="*/ 783077 w 915754"/>
              <a:gd name="connsiteY19" fmla="*/ 972766 h 1458979"/>
              <a:gd name="connsiteX20" fmla="*/ 749030 w 915754"/>
              <a:gd name="connsiteY20" fmla="*/ 953310 h 1458979"/>
              <a:gd name="connsiteX21" fmla="*/ 666345 w 915754"/>
              <a:gd name="connsiteY21" fmla="*/ 967902 h 1458979"/>
              <a:gd name="connsiteX22" fmla="*/ 607979 w 915754"/>
              <a:gd name="connsiteY22" fmla="*/ 914400 h 1458979"/>
              <a:gd name="connsiteX23" fmla="*/ 583660 w 915754"/>
              <a:gd name="connsiteY23" fmla="*/ 890081 h 1458979"/>
              <a:gd name="connsiteX24" fmla="*/ 588524 w 915754"/>
              <a:gd name="connsiteY24" fmla="*/ 841442 h 1458979"/>
              <a:gd name="connsiteX25" fmla="*/ 564205 w 915754"/>
              <a:gd name="connsiteY25" fmla="*/ 792804 h 1458979"/>
              <a:gd name="connsiteX26" fmla="*/ 564205 w 915754"/>
              <a:gd name="connsiteY26" fmla="*/ 763621 h 1458979"/>
              <a:gd name="connsiteX27" fmla="*/ 544749 w 915754"/>
              <a:gd name="connsiteY27" fmla="*/ 700391 h 1458979"/>
              <a:gd name="connsiteX28" fmla="*/ 466928 w 915754"/>
              <a:gd name="connsiteY28" fmla="*/ 705255 h 1458979"/>
              <a:gd name="connsiteX29" fmla="*/ 462064 w 915754"/>
              <a:gd name="connsiteY29" fmla="*/ 661481 h 1458979"/>
              <a:gd name="connsiteX30" fmla="*/ 491247 w 915754"/>
              <a:gd name="connsiteY30" fmla="*/ 646889 h 1458979"/>
              <a:gd name="connsiteX31" fmla="*/ 481520 w 915754"/>
              <a:gd name="connsiteY31" fmla="*/ 588523 h 1458979"/>
              <a:gd name="connsiteX32" fmla="*/ 505839 w 915754"/>
              <a:gd name="connsiteY32" fmla="*/ 510702 h 1458979"/>
              <a:gd name="connsiteX33" fmla="*/ 428018 w 915754"/>
              <a:gd name="connsiteY33" fmla="*/ 432881 h 1458979"/>
              <a:gd name="connsiteX34" fmla="*/ 384243 w 915754"/>
              <a:gd name="connsiteY34" fmla="*/ 364787 h 1458979"/>
              <a:gd name="connsiteX35" fmla="*/ 355060 w 915754"/>
              <a:gd name="connsiteY35" fmla="*/ 325876 h 1458979"/>
              <a:gd name="connsiteX36" fmla="*/ 355060 w 915754"/>
              <a:gd name="connsiteY36" fmla="*/ 218872 h 1458979"/>
              <a:gd name="connsiteX37" fmla="*/ 350196 w 915754"/>
              <a:gd name="connsiteY37" fmla="*/ 179961 h 1458979"/>
              <a:gd name="connsiteX38" fmla="*/ 369652 w 915754"/>
              <a:gd name="connsiteY38" fmla="*/ 102140 h 1458979"/>
              <a:gd name="connsiteX39" fmla="*/ 364788 w 915754"/>
              <a:gd name="connsiteY39" fmla="*/ 34047 h 1458979"/>
              <a:gd name="connsiteX40" fmla="*/ 238328 w 915754"/>
              <a:gd name="connsiteY40" fmla="*/ 0 h 1458979"/>
              <a:gd name="connsiteX0" fmla="*/ 238328 w 915754"/>
              <a:gd name="connsiteY0" fmla="*/ 0 h 1458979"/>
              <a:gd name="connsiteX1" fmla="*/ 141052 w 915754"/>
              <a:gd name="connsiteY1" fmla="*/ 549613 h 1458979"/>
              <a:gd name="connsiteX2" fmla="*/ 160507 w 915754"/>
              <a:gd name="connsiteY2" fmla="*/ 569068 h 1458979"/>
              <a:gd name="connsiteX3" fmla="*/ 175098 w 915754"/>
              <a:gd name="connsiteY3" fmla="*/ 593387 h 1458979"/>
              <a:gd name="connsiteX4" fmla="*/ 175098 w 915754"/>
              <a:gd name="connsiteY4" fmla="*/ 671208 h 1458979"/>
              <a:gd name="connsiteX5" fmla="*/ 126460 w 915754"/>
              <a:gd name="connsiteY5" fmla="*/ 700391 h 1458979"/>
              <a:gd name="connsiteX6" fmla="*/ 107005 w 915754"/>
              <a:gd name="connsiteY6" fmla="*/ 792804 h 1458979"/>
              <a:gd name="connsiteX7" fmla="*/ 58366 w 915754"/>
              <a:gd name="connsiteY7" fmla="*/ 817123 h 1458979"/>
              <a:gd name="connsiteX8" fmla="*/ 53503 w 915754"/>
              <a:gd name="connsiteY8" fmla="*/ 880353 h 1458979"/>
              <a:gd name="connsiteX9" fmla="*/ 58366 w 915754"/>
              <a:gd name="connsiteY9" fmla="*/ 899808 h 1458979"/>
              <a:gd name="connsiteX10" fmla="*/ 72958 w 915754"/>
              <a:gd name="connsiteY10" fmla="*/ 894944 h 1458979"/>
              <a:gd name="connsiteX11" fmla="*/ 82686 w 915754"/>
              <a:gd name="connsiteY11" fmla="*/ 919264 h 1458979"/>
              <a:gd name="connsiteX12" fmla="*/ 43775 w 915754"/>
              <a:gd name="connsiteY12" fmla="*/ 997085 h 1458979"/>
              <a:gd name="connsiteX13" fmla="*/ 0 w 915754"/>
              <a:gd name="connsiteY13" fmla="*/ 1293779 h 1458979"/>
              <a:gd name="connsiteX14" fmla="*/ 852966 w 915754"/>
              <a:gd name="connsiteY14" fmla="*/ 1458979 h 1458979"/>
              <a:gd name="connsiteX15" fmla="*/ 915754 w 915754"/>
              <a:gd name="connsiteY15" fmla="*/ 970305 h 1458979"/>
              <a:gd name="connsiteX16" fmla="*/ 875802 w 915754"/>
              <a:gd name="connsiteY16" fmla="*/ 924740 h 1458979"/>
              <a:gd name="connsiteX17" fmla="*/ 851171 w 915754"/>
              <a:gd name="connsiteY17" fmla="*/ 933855 h 1458979"/>
              <a:gd name="connsiteX18" fmla="*/ 821988 w 915754"/>
              <a:gd name="connsiteY18" fmla="*/ 963038 h 1458979"/>
              <a:gd name="connsiteX19" fmla="*/ 783077 w 915754"/>
              <a:gd name="connsiteY19" fmla="*/ 972766 h 1458979"/>
              <a:gd name="connsiteX20" fmla="*/ 749030 w 915754"/>
              <a:gd name="connsiteY20" fmla="*/ 953310 h 1458979"/>
              <a:gd name="connsiteX21" fmla="*/ 666345 w 915754"/>
              <a:gd name="connsiteY21" fmla="*/ 967902 h 1458979"/>
              <a:gd name="connsiteX22" fmla="*/ 607979 w 915754"/>
              <a:gd name="connsiteY22" fmla="*/ 914400 h 1458979"/>
              <a:gd name="connsiteX23" fmla="*/ 583660 w 915754"/>
              <a:gd name="connsiteY23" fmla="*/ 890081 h 1458979"/>
              <a:gd name="connsiteX24" fmla="*/ 588524 w 915754"/>
              <a:gd name="connsiteY24" fmla="*/ 841442 h 1458979"/>
              <a:gd name="connsiteX25" fmla="*/ 564205 w 915754"/>
              <a:gd name="connsiteY25" fmla="*/ 792804 h 1458979"/>
              <a:gd name="connsiteX26" fmla="*/ 564205 w 915754"/>
              <a:gd name="connsiteY26" fmla="*/ 763621 h 1458979"/>
              <a:gd name="connsiteX27" fmla="*/ 544749 w 915754"/>
              <a:gd name="connsiteY27" fmla="*/ 700391 h 1458979"/>
              <a:gd name="connsiteX28" fmla="*/ 466928 w 915754"/>
              <a:gd name="connsiteY28" fmla="*/ 705255 h 1458979"/>
              <a:gd name="connsiteX29" fmla="*/ 462064 w 915754"/>
              <a:gd name="connsiteY29" fmla="*/ 661481 h 1458979"/>
              <a:gd name="connsiteX30" fmla="*/ 491247 w 915754"/>
              <a:gd name="connsiteY30" fmla="*/ 646889 h 1458979"/>
              <a:gd name="connsiteX31" fmla="*/ 481520 w 915754"/>
              <a:gd name="connsiteY31" fmla="*/ 588523 h 1458979"/>
              <a:gd name="connsiteX32" fmla="*/ 505839 w 915754"/>
              <a:gd name="connsiteY32" fmla="*/ 510702 h 1458979"/>
              <a:gd name="connsiteX33" fmla="*/ 428018 w 915754"/>
              <a:gd name="connsiteY33" fmla="*/ 432881 h 1458979"/>
              <a:gd name="connsiteX34" fmla="*/ 384243 w 915754"/>
              <a:gd name="connsiteY34" fmla="*/ 364787 h 1458979"/>
              <a:gd name="connsiteX35" fmla="*/ 355060 w 915754"/>
              <a:gd name="connsiteY35" fmla="*/ 325876 h 1458979"/>
              <a:gd name="connsiteX36" fmla="*/ 355060 w 915754"/>
              <a:gd name="connsiteY36" fmla="*/ 218872 h 1458979"/>
              <a:gd name="connsiteX37" fmla="*/ 350196 w 915754"/>
              <a:gd name="connsiteY37" fmla="*/ 179961 h 1458979"/>
              <a:gd name="connsiteX38" fmla="*/ 369652 w 915754"/>
              <a:gd name="connsiteY38" fmla="*/ 102140 h 1458979"/>
              <a:gd name="connsiteX39" fmla="*/ 388379 w 915754"/>
              <a:gd name="connsiteY39" fmla="*/ 29286 h 1458979"/>
              <a:gd name="connsiteX40" fmla="*/ 238328 w 915754"/>
              <a:gd name="connsiteY40" fmla="*/ 0 h 1458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15754" h="1458979">
                <a:moveTo>
                  <a:pt x="238328" y="0"/>
                </a:moveTo>
                <a:lnTo>
                  <a:pt x="141052" y="549613"/>
                </a:lnTo>
                <a:lnTo>
                  <a:pt x="160507" y="569068"/>
                </a:lnTo>
                <a:lnTo>
                  <a:pt x="175098" y="593387"/>
                </a:lnTo>
                <a:lnTo>
                  <a:pt x="175098" y="671208"/>
                </a:lnTo>
                <a:lnTo>
                  <a:pt x="126460" y="700391"/>
                </a:lnTo>
                <a:lnTo>
                  <a:pt x="107005" y="792804"/>
                </a:lnTo>
                <a:lnTo>
                  <a:pt x="58366" y="817123"/>
                </a:lnTo>
                <a:lnTo>
                  <a:pt x="53503" y="880353"/>
                </a:lnTo>
                <a:lnTo>
                  <a:pt x="58366" y="899808"/>
                </a:lnTo>
                <a:lnTo>
                  <a:pt x="72958" y="894944"/>
                </a:lnTo>
                <a:lnTo>
                  <a:pt x="82686" y="919264"/>
                </a:lnTo>
                <a:lnTo>
                  <a:pt x="43775" y="997085"/>
                </a:lnTo>
                <a:lnTo>
                  <a:pt x="0" y="1293779"/>
                </a:lnTo>
                <a:lnTo>
                  <a:pt x="852966" y="1458979"/>
                </a:lnTo>
                <a:lnTo>
                  <a:pt x="915754" y="970305"/>
                </a:lnTo>
                <a:cubicBezTo>
                  <a:pt x="897677" y="959085"/>
                  <a:pt x="893879" y="935960"/>
                  <a:pt x="875802" y="924740"/>
                </a:cubicBezTo>
                <a:lnTo>
                  <a:pt x="851171" y="933855"/>
                </a:lnTo>
                <a:lnTo>
                  <a:pt x="821988" y="963038"/>
                </a:lnTo>
                <a:lnTo>
                  <a:pt x="783077" y="972766"/>
                </a:lnTo>
                <a:lnTo>
                  <a:pt x="749030" y="953310"/>
                </a:lnTo>
                <a:lnTo>
                  <a:pt x="666345" y="967902"/>
                </a:lnTo>
                <a:lnTo>
                  <a:pt x="607979" y="914400"/>
                </a:lnTo>
                <a:lnTo>
                  <a:pt x="583660" y="890081"/>
                </a:lnTo>
                <a:lnTo>
                  <a:pt x="588524" y="841442"/>
                </a:lnTo>
                <a:lnTo>
                  <a:pt x="564205" y="792804"/>
                </a:lnTo>
                <a:lnTo>
                  <a:pt x="564205" y="763621"/>
                </a:lnTo>
                <a:lnTo>
                  <a:pt x="544749" y="700391"/>
                </a:lnTo>
                <a:lnTo>
                  <a:pt x="466928" y="705255"/>
                </a:lnTo>
                <a:lnTo>
                  <a:pt x="462064" y="661481"/>
                </a:lnTo>
                <a:lnTo>
                  <a:pt x="491247" y="646889"/>
                </a:lnTo>
                <a:lnTo>
                  <a:pt x="481520" y="588523"/>
                </a:lnTo>
                <a:lnTo>
                  <a:pt x="505839" y="510702"/>
                </a:lnTo>
                <a:lnTo>
                  <a:pt x="428018" y="432881"/>
                </a:lnTo>
                <a:lnTo>
                  <a:pt x="384243" y="364787"/>
                </a:lnTo>
                <a:lnTo>
                  <a:pt x="355060" y="325876"/>
                </a:lnTo>
                <a:lnTo>
                  <a:pt x="355060" y="218872"/>
                </a:lnTo>
                <a:lnTo>
                  <a:pt x="350196" y="179961"/>
                </a:lnTo>
                <a:lnTo>
                  <a:pt x="369652" y="102140"/>
                </a:lnTo>
                <a:lnTo>
                  <a:pt x="388379" y="29286"/>
                </a:lnTo>
                <a:lnTo>
                  <a:pt x="23832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GB" sz="1800"/>
          </a:p>
        </p:txBody>
      </p:sp>
      <p:sp>
        <p:nvSpPr>
          <p:cNvPr id="7" name="Freeform 6"/>
          <p:cNvSpPr/>
          <p:nvPr/>
        </p:nvSpPr>
        <p:spPr>
          <a:xfrm>
            <a:off x="1186408" y="1672259"/>
            <a:ext cx="972620" cy="726607"/>
          </a:xfrm>
          <a:custGeom>
            <a:avLst/>
            <a:gdLst>
              <a:gd name="connsiteX0" fmla="*/ 992221 w 992221"/>
              <a:gd name="connsiteY0" fmla="*/ 184826 h 749030"/>
              <a:gd name="connsiteX1" fmla="*/ 262647 w 992221"/>
              <a:gd name="connsiteY1" fmla="*/ 0 h 749030"/>
              <a:gd name="connsiteX2" fmla="*/ 291830 w 992221"/>
              <a:gd name="connsiteY2" fmla="*/ 24319 h 749030"/>
              <a:gd name="connsiteX3" fmla="*/ 325877 w 992221"/>
              <a:gd name="connsiteY3" fmla="*/ 63230 h 749030"/>
              <a:gd name="connsiteX4" fmla="*/ 296694 w 992221"/>
              <a:gd name="connsiteY4" fmla="*/ 102141 h 749030"/>
              <a:gd name="connsiteX5" fmla="*/ 316149 w 992221"/>
              <a:gd name="connsiteY5" fmla="*/ 136187 h 749030"/>
              <a:gd name="connsiteX6" fmla="*/ 296694 w 992221"/>
              <a:gd name="connsiteY6" fmla="*/ 160506 h 749030"/>
              <a:gd name="connsiteX7" fmla="*/ 321013 w 992221"/>
              <a:gd name="connsiteY7" fmla="*/ 189689 h 749030"/>
              <a:gd name="connsiteX8" fmla="*/ 321013 w 992221"/>
              <a:gd name="connsiteY8" fmla="*/ 233464 h 749030"/>
              <a:gd name="connsiteX9" fmla="*/ 282102 w 992221"/>
              <a:gd name="connsiteY9" fmla="*/ 243192 h 749030"/>
              <a:gd name="connsiteX10" fmla="*/ 277239 w 992221"/>
              <a:gd name="connsiteY10" fmla="*/ 291830 h 749030"/>
              <a:gd name="connsiteX11" fmla="*/ 218873 w 992221"/>
              <a:gd name="connsiteY11" fmla="*/ 350196 h 749030"/>
              <a:gd name="connsiteX12" fmla="*/ 189690 w 992221"/>
              <a:gd name="connsiteY12" fmla="*/ 335604 h 749030"/>
              <a:gd name="connsiteX13" fmla="*/ 189690 w 992221"/>
              <a:gd name="connsiteY13" fmla="*/ 335604 h 749030"/>
              <a:gd name="connsiteX14" fmla="*/ 238328 w 992221"/>
              <a:gd name="connsiteY14" fmla="*/ 291830 h 749030"/>
              <a:gd name="connsiteX15" fmla="*/ 248056 w 992221"/>
              <a:gd name="connsiteY15" fmla="*/ 262647 h 749030"/>
              <a:gd name="connsiteX16" fmla="*/ 218873 w 992221"/>
              <a:gd name="connsiteY16" fmla="*/ 233464 h 749030"/>
              <a:gd name="connsiteX17" fmla="*/ 252919 w 992221"/>
              <a:gd name="connsiteY17" fmla="*/ 204281 h 749030"/>
              <a:gd name="connsiteX18" fmla="*/ 238328 w 992221"/>
              <a:gd name="connsiteY18" fmla="*/ 175098 h 749030"/>
              <a:gd name="connsiteX19" fmla="*/ 199417 w 992221"/>
              <a:gd name="connsiteY19" fmla="*/ 145915 h 749030"/>
              <a:gd name="connsiteX20" fmla="*/ 34047 w 992221"/>
              <a:gd name="connsiteY20" fmla="*/ 63230 h 749030"/>
              <a:gd name="connsiteX21" fmla="*/ 0 w 992221"/>
              <a:gd name="connsiteY21" fmla="*/ 92413 h 749030"/>
              <a:gd name="connsiteX22" fmla="*/ 29183 w 992221"/>
              <a:gd name="connsiteY22" fmla="*/ 189689 h 749030"/>
              <a:gd name="connsiteX23" fmla="*/ 24319 w 992221"/>
              <a:gd name="connsiteY23" fmla="*/ 223736 h 749030"/>
              <a:gd name="connsiteX24" fmla="*/ 9728 w 992221"/>
              <a:gd name="connsiteY24" fmla="*/ 286966 h 749030"/>
              <a:gd name="connsiteX25" fmla="*/ 14592 w 992221"/>
              <a:gd name="connsiteY25" fmla="*/ 306421 h 749030"/>
              <a:gd name="connsiteX26" fmla="*/ 34047 w 992221"/>
              <a:gd name="connsiteY26" fmla="*/ 306421 h 749030"/>
              <a:gd name="connsiteX27" fmla="*/ 48639 w 992221"/>
              <a:gd name="connsiteY27" fmla="*/ 325877 h 749030"/>
              <a:gd name="connsiteX28" fmla="*/ 43775 w 992221"/>
              <a:gd name="connsiteY28" fmla="*/ 345332 h 749030"/>
              <a:gd name="connsiteX29" fmla="*/ 14592 w 992221"/>
              <a:gd name="connsiteY29" fmla="*/ 345332 h 749030"/>
              <a:gd name="connsiteX30" fmla="*/ 29183 w 992221"/>
              <a:gd name="connsiteY30" fmla="*/ 379379 h 749030"/>
              <a:gd name="connsiteX31" fmla="*/ 0 w 992221"/>
              <a:gd name="connsiteY31" fmla="*/ 413426 h 749030"/>
              <a:gd name="connsiteX32" fmla="*/ 4864 w 992221"/>
              <a:gd name="connsiteY32" fmla="*/ 452336 h 749030"/>
              <a:gd name="connsiteX33" fmla="*/ 43775 w 992221"/>
              <a:gd name="connsiteY33" fmla="*/ 457200 h 749030"/>
              <a:gd name="connsiteX34" fmla="*/ 58366 w 992221"/>
              <a:gd name="connsiteY34" fmla="*/ 476655 h 749030"/>
              <a:gd name="connsiteX35" fmla="*/ 136187 w 992221"/>
              <a:gd name="connsiteY35" fmla="*/ 515566 h 749030"/>
              <a:gd name="connsiteX36" fmla="*/ 145915 w 992221"/>
              <a:gd name="connsiteY36" fmla="*/ 627434 h 749030"/>
              <a:gd name="connsiteX37" fmla="*/ 145915 w 992221"/>
              <a:gd name="connsiteY37" fmla="*/ 627434 h 749030"/>
              <a:gd name="connsiteX38" fmla="*/ 199417 w 992221"/>
              <a:gd name="connsiteY38" fmla="*/ 622570 h 749030"/>
              <a:gd name="connsiteX39" fmla="*/ 223736 w 992221"/>
              <a:gd name="connsiteY39" fmla="*/ 617706 h 749030"/>
              <a:gd name="connsiteX40" fmla="*/ 248056 w 992221"/>
              <a:gd name="connsiteY40" fmla="*/ 617706 h 749030"/>
              <a:gd name="connsiteX41" fmla="*/ 272375 w 992221"/>
              <a:gd name="connsiteY41" fmla="*/ 603115 h 749030"/>
              <a:gd name="connsiteX42" fmla="*/ 330741 w 992221"/>
              <a:gd name="connsiteY42" fmla="*/ 661481 h 749030"/>
              <a:gd name="connsiteX43" fmla="*/ 389107 w 992221"/>
              <a:gd name="connsiteY43" fmla="*/ 637162 h 749030"/>
              <a:gd name="connsiteX44" fmla="*/ 452336 w 992221"/>
              <a:gd name="connsiteY44" fmla="*/ 680936 h 749030"/>
              <a:gd name="connsiteX45" fmla="*/ 515566 w 992221"/>
              <a:gd name="connsiteY45" fmla="*/ 676072 h 749030"/>
              <a:gd name="connsiteX46" fmla="*/ 569068 w 992221"/>
              <a:gd name="connsiteY46" fmla="*/ 680936 h 749030"/>
              <a:gd name="connsiteX47" fmla="*/ 598251 w 992221"/>
              <a:gd name="connsiteY47" fmla="*/ 690664 h 749030"/>
              <a:gd name="connsiteX48" fmla="*/ 642026 w 992221"/>
              <a:gd name="connsiteY48" fmla="*/ 676072 h 749030"/>
              <a:gd name="connsiteX49" fmla="*/ 710119 w 992221"/>
              <a:gd name="connsiteY49" fmla="*/ 700392 h 749030"/>
              <a:gd name="connsiteX50" fmla="*/ 749030 w 992221"/>
              <a:gd name="connsiteY50" fmla="*/ 695528 h 749030"/>
              <a:gd name="connsiteX51" fmla="*/ 797668 w 992221"/>
              <a:gd name="connsiteY51" fmla="*/ 719847 h 749030"/>
              <a:gd name="connsiteX52" fmla="*/ 846307 w 992221"/>
              <a:gd name="connsiteY52" fmla="*/ 729575 h 749030"/>
              <a:gd name="connsiteX53" fmla="*/ 870626 w 992221"/>
              <a:gd name="connsiteY53" fmla="*/ 724711 h 749030"/>
              <a:gd name="connsiteX54" fmla="*/ 894945 w 992221"/>
              <a:gd name="connsiteY54" fmla="*/ 739302 h 749030"/>
              <a:gd name="connsiteX55" fmla="*/ 919264 w 992221"/>
              <a:gd name="connsiteY55" fmla="*/ 749030 h 749030"/>
              <a:gd name="connsiteX56" fmla="*/ 992221 w 992221"/>
              <a:gd name="connsiteY56" fmla="*/ 184826 h 749030"/>
              <a:gd name="connsiteX0" fmla="*/ 1006541 w 1006541"/>
              <a:gd name="connsiteY0" fmla="*/ 182379 h 749030"/>
              <a:gd name="connsiteX1" fmla="*/ 262647 w 1006541"/>
              <a:gd name="connsiteY1" fmla="*/ 0 h 749030"/>
              <a:gd name="connsiteX2" fmla="*/ 291830 w 1006541"/>
              <a:gd name="connsiteY2" fmla="*/ 24319 h 749030"/>
              <a:gd name="connsiteX3" fmla="*/ 325877 w 1006541"/>
              <a:gd name="connsiteY3" fmla="*/ 63230 h 749030"/>
              <a:gd name="connsiteX4" fmla="*/ 296694 w 1006541"/>
              <a:gd name="connsiteY4" fmla="*/ 102141 h 749030"/>
              <a:gd name="connsiteX5" fmla="*/ 316149 w 1006541"/>
              <a:gd name="connsiteY5" fmla="*/ 136187 h 749030"/>
              <a:gd name="connsiteX6" fmla="*/ 296694 w 1006541"/>
              <a:gd name="connsiteY6" fmla="*/ 160506 h 749030"/>
              <a:gd name="connsiteX7" fmla="*/ 321013 w 1006541"/>
              <a:gd name="connsiteY7" fmla="*/ 189689 h 749030"/>
              <a:gd name="connsiteX8" fmla="*/ 321013 w 1006541"/>
              <a:gd name="connsiteY8" fmla="*/ 233464 h 749030"/>
              <a:gd name="connsiteX9" fmla="*/ 282102 w 1006541"/>
              <a:gd name="connsiteY9" fmla="*/ 243192 h 749030"/>
              <a:gd name="connsiteX10" fmla="*/ 277239 w 1006541"/>
              <a:gd name="connsiteY10" fmla="*/ 291830 h 749030"/>
              <a:gd name="connsiteX11" fmla="*/ 218873 w 1006541"/>
              <a:gd name="connsiteY11" fmla="*/ 350196 h 749030"/>
              <a:gd name="connsiteX12" fmla="*/ 189690 w 1006541"/>
              <a:gd name="connsiteY12" fmla="*/ 335604 h 749030"/>
              <a:gd name="connsiteX13" fmla="*/ 189690 w 1006541"/>
              <a:gd name="connsiteY13" fmla="*/ 335604 h 749030"/>
              <a:gd name="connsiteX14" fmla="*/ 238328 w 1006541"/>
              <a:gd name="connsiteY14" fmla="*/ 291830 h 749030"/>
              <a:gd name="connsiteX15" fmla="*/ 248056 w 1006541"/>
              <a:gd name="connsiteY15" fmla="*/ 262647 h 749030"/>
              <a:gd name="connsiteX16" fmla="*/ 218873 w 1006541"/>
              <a:gd name="connsiteY16" fmla="*/ 233464 h 749030"/>
              <a:gd name="connsiteX17" fmla="*/ 252919 w 1006541"/>
              <a:gd name="connsiteY17" fmla="*/ 204281 h 749030"/>
              <a:gd name="connsiteX18" fmla="*/ 238328 w 1006541"/>
              <a:gd name="connsiteY18" fmla="*/ 175098 h 749030"/>
              <a:gd name="connsiteX19" fmla="*/ 199417 w 1006541"/>
              <a:gd name="connsiteY19" fmla="*/ 145915 h 749030"/>
              <a:gd name="connsiteX20" fmla="*/ 34047 w 1006541"/>
              <a:gd name="connsiteY20" fmla="*/ 63230 h 749030"/>
              <a:gd name="connsiteX21" fmla="*/ 0 w 1006541"/>
              <a:gd name="connsiteY21" fmla="*/ 92413 h 749030"/>
              <a:gd name="connsiteX22" fmla="*/ 29183 w 1006541"/>
              <a:gd name="connsiteY22" fmla="*/ 189689 h 749030"/>
              <a:gd name="connsiteX23" fmla="*/ 24319 w 1006541"/>
              <a:gd name="connsiteY23" fmla="*/ 223736 h 749030"/>
              <a:gd name="connsiteX24" fmla="*/ 9728 w 1006541"/>
              <a:gd name="connsiteY24" fmla="*/ 286966 h 749030"/>
              <a:gd name="connsiteX25" fmla="*/ 14592 w 1006541"/>
              <a:gd name="connsiteY25" fmla="*/ 306421 h 749030"/>
              <a:gd name="connsiteX26" fmla="*/ 34047 w 1006541"/>
              <a:gd name="connsiteY26" fmla="*/ 306421 h 749030"/>
              <a:gd name="connsiteX27" fmla="*/ 48639 w 1006541"/>
              <a:gd name="connsiteY27" fmla="*/ 325877 h 749030"/>
              <a:gd name="connsiteX28" fmla="*/ 43775 w 1006541"/>
              <a:gd name="connsiteY28" fmla="*/ 345332 h 749030"/>
              <a:gd name="connsiteX29" fmla="*/ 14592 w 1006541"/>
              <a:gd name="connsiteY29" fmla="*/ 345332 h 749030"/>
              <a:gd name="connsiteX30" fmla="*/ 29183 w 1006541"/>
              <a:gd name="connsiteY30" fmla="*/ 379379 h 749030"/>
              <a:gd name="connsiteX31" fmla="*/ 0 w 1006541"/>
              <a:gd name="connsiteY31" fmla="*/ 413426 h 749030"/>
              <a:gd name="connsiteX32" fmla="*/ 4864 w 1006541"/>
              <a:gd name="connsiteY32" fmla="*/ 452336 h 749030"/>
              <a:gd name="connsiteX33" fmla="*/ 43775 w 1006541"/>
              <a:gd name="connsiteY33" fmla="*/ 457200 h 749030"/>
              <a:gd name="connsiteX34" fmla="*/ 58366 w 1006541"/>
              <a:gd name="connsiteY34" fmla="*/ 476655 h 749030"/>
              <a:gd name="connsiteX35" fmla="*/ 136187 w 1006541"/>
              <a:gd name="connsiteY35" fmla="*/ 515566 h 749030"/>
              <a:gd name="connsiteX36" fmla="*/ 145915 w 1006541"/>
              <a:gd name="connsiteY36" fmla="*/ 627434 h 749030"/>
              <a:gd name="connsiteX37" fmla="*/ 145915 w 1006541"/>
              <a:gd name="connsiteY37" fmla="*/ 627434 h 749030"/>
              <a:gd name="connsiteX38" fmla="*/ 199417 w 1006541"/>
              <a:gd name="connsiteY38" fmla="*/ 622570 h 749030"/>
              <a:gd name="connsiteX39" fmla="*/ 223736 w 1006541"/>
              <a:gd name="connsiteY39" fmla="*/ 617706 h 749030"/>
              <a:gd name="connsiteX40" fmla="*/ 248056 w 1006541"/>
              <a:gd name="connsiteY40" fmla="*/ 617706 h 749030"/>
              <a:gd name="connsiteX41" fmla="*/ 272375 w 1006541"/>
              <a:gd name="connsiteY41" fmla="*/ 603115 h 749030"/>
              <a:gd name="connsiteX42" fmla="*/ 330741 w 1006541"/>
              <a:gd name="connsiteY42" fmla="*/ 661481 h 749030"/>
              <a:gd name="connsiteX43" fmla="*/ 389107 w 1006541"/>
              <a:gd name="connsiteY43" fmla="*/ 637162 h 749030"/>
              <a:gd name="connsiteX44" fmla="*/ 452336 w 1006541"/>
              <a:gd name="connsiteY44" fmla="*/ 680936 h 749030"/>
              <a:gd name="connsiteX45" fmla="*/ 515566 w 1006541"/>
              <a:gd name="connsiteY45" fmla="*/ 676072 h 749030"/>
              <a:gd name="connsiteX46" fmla="*/ 569068 w 1006541"/>
              <a:gd name="connsiteY46" fmla="*/ 680936 h 749030"/>
              <a:gd name="connsiteX47" fmla="*/ 598251 w 1006541"/>
              <a:gd name="connsiteY47" fmla="*/ 690664 h 749030"/>
              <a:gd name="connsiteX48" fmla="*/ 642026 w 1006541"/>
              <a:gd name="connsiteY48" fmla="*/ 676072 h 749030"/>
              <a:gd name="connsiteX49" fmla="*/ 710119 w 1006541"/>
              <a:gd name="connsiteY49" fmla="*/ 700392 h 749030"/>
              <a:gd name="connsiteX50" fmla="*/ 749030 w 1006541"/>
              <a:gd name="connsiteY50" fmla="*/ 695528 h 749030"/>
              <a:gd name="connsiteX51" fmla="*/ 797668 w 1006541"/>
              <a:gd name="connsiteY51" fmla="*/ 719847 h 749030"/>
              <a:gd name="connsiteX52" fmla="*/ 846307 w 1006541"/>
              <a:gd name="connsiteY52" fmla="*/ 729575 h 749030"/>
              <a:gd name="connsiteX53" fmla="*/ 870626 w 1006541"/>
              <a:gd name="connsiteY53" fmla="*/ 724711 h 749030"/>
              <a:gd name="connsiteX54" fmla="*/ 894945 w 1006541"/>
              <a:gd name="connsiteY54" fmla="*/ 739302 h 749030"/>
              <a:gd name="connsiteX55" fmla="*/ 919264 w 1006541"/>
              <a:gd name="connsiteY55" fmla="*/ 749030 h 749030"/>
              <a:gd name="connsiteX56" fmla="*/ 1006541 w 1006541"/>
              <a:gd name="connsiteY56" fmla="*/ 182379 h 749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006541" h="749030">
                <a:moveTo>
                  <a:pt x="1006541" y="182379"/>
                </a:moveTo>
                <a:lnTo>
                  <a:pt x="262647" y="0"/>
                </a:lnTo>
                <a:lnTo>
                  <a:pt x="291830" y="24319"/>
                </a:lnTo>
                <a:lnTo>
                  <a:pt x="325877" y="63230"/>
                </a:lnTo>
                <a:lnTo>
                  <a:pt x="296694" y="102141"/>
                </a:lnTo>
                <a:lnTo>
                  <a:pt x="316149" y="136187"/>
                </a:lnTo>
                <a:lnTo>
                  <a:pt x="296694" y="160506"/>
                </a:lnTo>
                <a:lnTo>
                  <a:pt x="321013" y="189689"/>
                </a:lnTo>
                <a:lnTo>
                  <a:pt x="321013" y="233464"/>
                </a:lnTo>
                <a:lnTo>
                  <a:pt x="282102" y="243192"/>
                </a:lnTo>
                <a:lnTo>
                  <a:pt x="277239" y="291830"/>
                </a:lnTo>
                <a:lnTo>
                  <a:pt x="218873" y="350196"/>
                </a:lnTo>
                <a:lnTo>
                  <a:pt x="189690" y="335604"/>
                </a:lnTo>
                <a:lnTo>
                  <a:pt x="189690" y="335604"/>
                </a:lnTo>
                <a:lnTo>
                  <a:pt x="238328" y="291830"/>
                </a:lnTo>
                <a:lnTo>
                  <a:pt x="248056" y="262647"/>
                </a:lnTo>
                <a:lnTo>
                  <a:pt x="218873" y="233464"/>
                </a:lnTo>
                <a:lnTo>
                  <a:pt x="252919" y="204281"/>
                </a:lnTo>
                <a:lnTo>
                  <a:pt x="238328" y="175098"/>
                </a:lnTo>
                <a:lnTo>
                  <a:pt x="199417" y="145915"/>
                </a:lnTo>
                <a:lnTo>
                  <a:pt x="34047" y="63230"/>
                </a:lnTo>
                <a:lnTo>
                  <a:pt x="0" y="92413"/>
                </a:lnTo>
                <a:lnTo>
                  <a:pt x="29183" y="189689"/>
                </a:lnTo>
                <a:lnTo>
                  <a:pt x="24319" y="223736"/>
                </a:lnTo>
                <a:lnTo>
                  <a:pt x="9728" y="286966"/>
                </a:lnTo>
                <a:lnTo>
                  <a:pt x="14592" y="306421"/>
                </a:lnTo>
                <a:lnTo>
                  <a:pt x="34047" y="306421"/>
                </a:lnTo>
                <a:lnTo>
                  <a:pt x="48639" y="325877"/>
                </a:lnTo>
                <a:lnTo>
                  <a:pt x="43775" y="345332"/>
                </a:lnTo>
                <a:lnTo>
                  <a:pt x="14592" y="345332"/>
                </a:lnTo>
                <a:lnTo>
                  <a:pt x="29183" y="379379"/>
                </a:lnTo>
                <a:lnTo>
                  <a:pt x="0" y="413426"/>
                </a:lnTo>
                <a:lnTo>
                  <a:pt x="4864" y="452336"/>
                </a:lnTo>
                <a:lnTo>
                  <a:pt x="43775" y="457200"/>
                </a:lnTo>
                <a:lnTo>
                  <a:pt x="58366" y="476655"/>
                </a:lnTo>
                <a:lnTo>
                  <a:pt x="136187" y="515566"/>
                </a:lnTo>
                <a:lnTo>
                  <a:pt x="145915" y="627434"/>
                </a:lnTo>
                <a:lnTo>
                  <a:pt x="145915" y="627434"/>
                </a:lnTo>
                <a:lnTo>
                  <a:pt x="199417" y="622570"/>
                </a:lnTo>
                <a:lnTo>
                  <a:pt x="223736" y="617706"/>
                </a:lnTo>
                <a:lnTo>
                  <a:pt x="248056" y="617706"/>
                </a:lnTo>
                <a:lnTo>
                  <a:pt x="272375" y="603115"/>
                </a:lnTo>
                <a:lnTo>
                  <a:pt x="330741" y="661481"/>
                </a:lnTo>
                <a:lnTo>
                  <a:pt x="389107" y="637162"/>
                </a:lnTo>
                <a:lnTo>
                  <a:pt x="452336" y="680936"/>
                </a:lnTo>
                <a:lnTo>
                  <a:pt x="515566" y="676072"/>
                </a:lnTo>
                <a:lnTo>
                  <a:pt x="569068" y="680936"/>
                </a:lnTo>
                <a:lnTo>
                  <a:pt x="598251" y="690664"/>
                </a:lnTo>
                <a:lnTo>
                  <a:pt x="642026" y="676072"/>
                </a:lnTo>
                <a:lnTo>
                  <a:pt x="710119" y="700392"/>
                </a:lnTo>
                <a:lnTo>
                  <a:pt x="749030" y="695528"/>
                </a:lnTo>
                <a:lnTo>
                  <a:pt x="797668" y="719847"/>
                </a:lnTo>
                <a:lnTo>
                  <a:pt x="846307" y="729575"/>
                </a:lnTo>
                <a:lnTo>
                  <a:pt x="870626" y="724711"/>
                </a:lnTo>
                <a:lnTo>
                  <a:pt x="894945" y="739302"/>
                </a:lnTo>
                <a:lnTo>
                  <a:pt x="919264" y="749030"/>
                </a:lnTo>
                <a:lnTo>
                  <a:pt x="1006541" y="18237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GB" sz="1800"/>
          </a:p>
        </p:txBody>
      </p:sp>
      <p:sp>
        <p:nvSpPr>
          <p:cNvPr id="8" name="Freeform 7"/>
          <p:cNvSpPr/>
          <p:nvPr/>
        </p:nvSpPr>
        <p:spPr>
          <a:xfrm>
            <a:off x="936348" y="2098679"/>
            <a:ext cx="1165918" cy="1002164"/>
          </a:xfrm>
          <a:custGeom>
            <a:avLst/>
            <a:gdLst>
              <a:gd name="connsiteX0" fmla="*/ 265568 w 1195057"/>
              <a:gd name="connsiteY0" fmla="*/ 0 h 1013988"/>
              <a:gd name="connsiteX1" fmla="*/ 250479 w 1195057"/>
              <a:gd name="connsiteY1" fmla="*/ 72428 h 1013988"/>
              <a:gd name="connsiteX2" fmla="*/ 250479 w 1195057"/>
              <a:gd name="connsiteY2" fmla="*/ 114677 h 1013988"/>
              <a:gd name="connsiteX3" fmla="*/ 232372 w 1195057"/>
              <a:gd name="connsiteY3" fmla="*/ 132784 h 1013988"/>
              <a:gd name="connsiteX4" fmla="*/ 217283 w 1195057"/>
              <a:gd name="connsiteY4" fmla="*/ 193140 h 1013988"/>
              <a:gd name="connsiteX5" fmla="*/ 172016 w 1195057"/>
              <a:gd name="connsiteY5" fmla="*/ 238408 h 1013988"/>
              <a:gd name="connsiteX6" fmla="*/ 162962 w 1195057"/>
              <a:gd name="connsiteY6" fmla="*/ 325925 h 1013988"/>
              <a:gd name="connsiteX7" fmla="*/ 54321 w 1195057"/>
              <a:gd name="connsiteY7" fmla="*/ 476816 h 1013988"/>
              <a:gd name="connsiteX8" fmla="*/ 54321 w 1195057"/>
              <a:gd name="connsiteY8" fmla="*/ 519065 h 1013988"/>
              <a:gd name="connsiteX9" fmla="*/ 21125 w 1195057"/>
              <a:gd name="connsiteY9" fmla="*/ 558297 h 1013988"/>
              <a:gd name="connsiteX10" fmla="*/ 15089 w 1195057"/>
              <a:gd name="connsiteY10" fmla="*/ 615636 h 1013988"/>
              <a:gd name="connsiteX11" fmla="*/ 0 w 1195057"/>
              <a:gd name="connsiteY11" fmla="*/ 688063 h 1013988"/>
              <a:gd name="connsiteX12" fmla="*/ 6036 w 1195057"/>
              <a:gd name="connsiteY12" fmla="*/ 748420 h 1013988"/>
              <a:gd name="connsiteX13" fmla="*/ 591493 w 1195057"/>
              <a:gd name="connsiteY13" fmla="*/ 917418 h 1013988"/>
              <a:gd name="connsiteX14" fmla="*/ 1029077 w 1195057"/>
              <a:gd name="connsiteY14" fmla="*/ 1013988 h 1013988"/>
              <a:gd name="connsiteX15" fmla="*/ 1071327 w 1195057"/>
              <a:gd name="connsiteY15" fmla="*/ 712206 h 1013988"/>
              <a:gd name="connsiteX16" fmla="*/ 1107541 w 1195057"/>
              <a:gd name="connsiteY16" fmla="*/ 642796 h 1013988"/>
              <a:gd name="connsiteX17" fmla="*/ 1092452 w 1195057"/>
              <a:gd name="connsiteY17" fmla="*/ 612618 h 1013988"/>
              <a:gd name="connsiteX18" fmla="*/ 1083398 w 1195057"/>
              <a:gd name="connsiteY18" fmla="*/ 615636 h 1013988"/>
              <a:gd name="connsiteX19" fmla="*/ 1083398 w 1195057"/>
              <a:gd name="connsiteY19" fmla="*/ 543208 h 1013988"/>
              <a:gd name="connsiteX20" fmla="*/ 1134701 w 1195057"/>
              <a:gd name="connsiteY20" fmla="*/ 519065 h 1013988"/>
              <a:gd name="connsiteX21" fmla="*/ 1149790 w 1195057"/>
              <a:gd name="connsiteY21" fmla="*/ 419477 h 1013988"/>
              <a:gd name="connsiteX22" fmla="*/ 1195057 w 1195057"/>
              <a:gd name="connsiteY22" fmla="*/ 392317 h 1013988"/>
              <a:gd name="connsiteX23" fmla="*/ 1195057 w 1195057"/>
              <a:gd name="connsiteY23" fmla="*/ 322907 h 1013988"/>
              <a:gd name="connsiteX24" fmla="*/ 1182986 w 1195057"/>
              <a:gd name="connsiteY24" fmla="*/ 292729 h 1013988"/>
              <a:gd name="connsiteX25" fmla="*/ 1164879 w 1195057"/>
              <a:gd name="connsiteY25" fmla="*/ 292729 h 1013988"/>
              <a:gd name="connsiteX26" fmla="*/ 1131683 w 1195057"/>
              <a:gd name="connsiteY26" fmla="*/ 271604 h 1013988"/>
              <a:gd name="connsiteX27" fmla="*/ 1089434 w 1195057"/>
              <a:gd name="connsiteY27" fmla="*/ 271604 h 1013988"/>
              <a:gd name="connsiteX28" fmla="*/ 1059256 w 1195057"/>
              <a:gd name="connsiteY28" fmla="*/ 268586 h 1013988"/>
              <a:gd name="connsiteX29" fmla="*/ 998899 w 1195057"/>
              <a:gd name="connsiteY29" fmla="*/ 235390 h 1013988"/>
              <a:gd name="connsiteX30" fmla="*/ 968721 w 1195057"/>
              <a:gd name="connsiteY30" fmla="*/ 247461 h 1013988"/>
              <a:gd name="connsiteX31" fmla="*/ 908364 w 1195057"/>
              <a:gd name="connsiteY31" fmla="*/ 220301 h 1013988"/>
              <a:gd name="connsiteX32" fmla="*/ 854044 w 1195057"/>
              <a:gd name="connsiteY32" fmla="*/ 235390 h 1013988"/>
              <a:gd name="connsiteX33" fmla="*/ 832919 w 1195057"/>
              <a:gd name="connsiteY33" fmla="*/ 226336 h 1013988"/>
              <a:gd name="connsiteX34" fmla="*/ 715224 w 1195057"/>
              <a:gd name="connsiteY34" fmla="*/ 226336 h 1013988"/>
              <a:gd name="connsiteX35" fmla="*/ 648832 w 1195057"/>
              <a:gd name="connsiteY35" fmla="*/ 181069 h 1013988"/>
              <a:gd name="connsiteX36" fmla="*/ 588475 w 1195057"/>
              <a:gd name="connsiteY36" fmla="*/ 208230 h 1013988"/>
              <a:gd name="connsiteX37" fmla="*/ 531137 w 1195057"/>
              <a:gd name="connsiteY37" fmla="*/ 144855 h 1013988"/>
              <a:gd name="connsiteX38" fmla="*/ 407406 w 1195057"/>
              <a:gd name="connsiteY38" fmla="*/ 172016 h 1013988"/>
              <a:gd name="connsiteX39" fmla="*/ 392317 w 1195057"/>
              <a:gd name="connsiteY39" fmla="*/ 60356 h 1013988"/>
              <a:gd name="connsiteX40" fmla="*/ 265568 w 1195057"/>
              <a:gd name="connsiteY40" fmla="*/ 0 h 1013988"/>
              <a:gd name="connsiteX0" fmla="*/ 265568 w 1206976"/>
              <a:gd name="connsiteY0" fmla="*/ 0 h 1013988"/>
              <a:gd name="connsiteX1" fmla="*/ 250479 w 1206976"/>
              <a:gd name="connsiteY1" fmla="*/ 72428 h 1013988"/>
              <a:gd name="connsiteX2" fmla="*/ 250479 w 1206976"/>
              <a:gd name="connsiteY2" fmla="*/ 114677 h 1013988"/>
              <a:gd name="connsiteX3" fmla="*/ 232372 w 1206976"/>
              <a:gd name="connsiteY3" fmla="*/ 132784 h 1013988"/>
              <a:gd name="connsiteX4" fmla="*/ 217283 w 1206976"/>
              <a:gd name="connsiteY4" fmla="*/ 193140 h 1013988"/>
              <a:gd name="connsiteX5" fmla="*/ 172016 w 1206976"/>
              <a:gd name="connsiteY5" fmla="*/ 238408 h 1013988"/>
              <a:gd name="connsiteX6" fmla="*/ 162962 w 1206976"/>
              <a:gd name="connsiteY6" fmla="*/ 325925 h 1013988"/>
              <a:gd name="connsiteX7" fmla="*/ 54321 w 1206976"/>
              <a:gd name="connsiteY7" fmla="*/ 476816 h 1013988"/>
              <a:gd name="connsiteX8" fmla="*/ 54321 w 1206976"/>
              <a:gd name="connsiteY8" fmla="*/ 519065 h 1013988"/>
              <a:gd name="connsiteX9" fmla="*/ 21125 w 1206976"/>
              <a:gd name="connsiteY9" fmla="*/ 558297 h 1013988"/>
              <a:gd name="connsiteX10" fmla="*/ 15089 w 1206976"/>
              <a:gd name="connsiteY10" fmla="*/ 615636 h 1013988"/>
              <a:gd name="connsiteX11" fmla="*/ 0 w 1206976"/>
              <a:gd name="connsiteY11" fmla="*/ 688063 h 1013988"/>
              <a:gd name="connsiteX12" fmla="*/ 6036 w 1206976"/>
              <a:gd name="connsiteY12" fmla="*/ 748420 h 1013988"/>
              <a:gd name="connsiteX13" fmla="*/ 591493 w 1206976"/>
              <a:gd name="connsiteY13" fmla="*/ 917418 h 1013988"/>
              <a:gd name="connsiteX14" fmla="*/ 1029077 w 1206976"/>
              <a:gd name="connsiteY14" fmla="*/ 1013988 h 1013988"/>
              <a:gd name="connsiteX15" fmla="*/ 1071327 w 1206976"/>
              <a:gd name="connsiteY15" fmla="*/ 712206 h 1013988"/>
              <a:gd name="connsiteX16" fmla="*/ 1107541 w 1206976"/>
              <a:gd name="connsiteY16" fmla="*/ 642796 h 1013988"/>
              <a:gd name="connsiteX17" fmla="*/ 1092452 w 1206976"/>
              <a:gd name="connsiteY17" fmla="*/ 612618 h 1013988"/>
              <a:gd name="connsiteX18" fmla="*/ 1083398 w 1206976"/>
              <a:gd name="connsiteY18" fmla="*/ 615636 h 1013988"/>
              <a:gd name="connsiteX19" fmla="*/ 1083398 w 1206976"/>
              <a:gd name="connsiteY19" fmla="*/ 543208 h 1013988"/>
              <a:gd name="connsiteX20" fmla="*/ 1134701 w 1206976"/>
              <a:gd name="connsiteY20" fmla="*/ 519065 h 1013988"/>
              <a:gd name="connsiteX21" fmla="*/ 1149790 w 1206976"/>
              <a:gd name="connsiteY21" fmla="*/ 419477 h 1013988"/>
              <a:gd name="connsiteX22" fmla="*/ 1206976 w 1206976"/>
              <a:gd name="connsiteY22" fmla="*/ 392317 h 1013988"/>
              <a:gd name="connsiteX23" fmla="*/ 1195057 w 1206976"/>
              <a:gd name="connsiteY23" fmla="*/ 322907 h 1013988"/>
              <a:gd name="connsiteX24" fmla="*/ 1182986 w 1206976"/>
              <a:gd name="connsiteY24" fmla="*/ 292729 h 1013988"/>
              <a:gd name="connsiteX25" fmla="*/ 1164879 w 1206976"/>
              <a:gd name="connsiteY25" fmla="*/ 292729 h 1013988"/>
              <a:gd name="connsiteX26" fmla="*/ 1131683 w 1206976"/>
              <a:gd name="connsiteY26" fmla="*/ 271604 h 1013988"/>
              <a:gd name="connsiteX27" fmla="*/ 1089434 w 1206976"/>
              <a:gd name="connsiteY27" fmla="*/ 271604 h 1013988"/>
              <a:gd name="connsiteX28" fmla="*/ 1059256 w 1206976"/>
              <a:gd name="connsiteY28" fmla="*/ 268586 h 1013988"/>
              <a:gd name="connsiteX29" fmla="*/ 998899 w 1206976"/>
              <a:gd name="connsiteY29" fmla="*/ 235390 h 1013988"/>
              <a:gd name="connsiteX30" fmla="*/ 968721 w 1206976"/>
              <a:gd name="connsiteY30" fmla="*/ 247461 h 1013988"/>
              <a:gd name="connsiteX31" fmla="*/ 908364 w 1206976"/>
              <a:gd name="connsiteY31" fmla="*/ 220301 h 1013988"/>
              <a:gd name="connsiteX32" fmla="*/ 854044 w 1206976"/>
              <a:gd name="connsiteY32" fmla="*/ 235390 h 1013988"/>
              <a:gd name="connsiteX33" fmla="*/ 832919 w 1206976"/>
              <a:gd name="connsiteY33" fmla="*/ 226336 h 1013988"/>
              <a:gd name="connsiteX34" fmla="*/ 715224 w 1206976"/>
              <a:gd name="connsiteY34" fmla="*/ 226336 h 1013988"/>
              <a:gd name="connsiteX35" fmla="*/ 648832 w 1206976"/>
              <a:gd name="connsiteY35" fmla="*/ 181069 h 1013988"/>
              <a:gd name="connsiteX36" fmla="*/ 588475 w 1206976"/>
              <a:gd name="connsiteY36" fmla="*/ 208230 h 1013988"/>
              <a:gd name="connsiteX37" fmla="*/ 531137 w 1206976"/>
              <a:gd name="connsiteY37" fmla="*/ 144855 h 1013988"/>
              <a:gd name="connsiteX38" fmla="*/ 407406 w 1206976"/>
              <a:gd name="connsiteY38" fmla="*/ 172016 h 1013988"/>
              <a:gd name="connsiteX39" fmla="*/ 392317 w 1206976"/>
              <a:gd name="connsiteY39" fmla="*/ 60356 h 1013988"/>
              <a:gd name="connsiteX40" fmla="*/ 265568 w 1206976"/>
              <a:gd name="connsiteY40" fmla="*/ 0 h 1013988"/>
              <a:gd name="connsiteX0" fmla="*/ 265568 w 1206976"/>
              <a:gd name="connsiteY0" fmla="*/ 0 h 1013988"/>
              <a:gd name="connsiteX1" fmla="*/ 250479 w 1206976"/>
              <a:gd name="connsiteY1" fmla="*/ 72428 h 1013988"/>
              <a:gd name="connsiteX2" fmla="*/ 250479 w 1206976"/>
              <a:gd name="connsiteY2" fmla="*/ 114677 h 1013988"/>
              <a:gd name="connsiteX3" fmla="*/ 232372 w 1206976"/>
              <a:gd name="connsiteY3" fmla="*/ 132784 h 1013988"/>
              <a:gd name="connsiteX4" fmla="*/ 217283 w 1206976"/>
              <a:gd name="connsiteY4" fmla="*/ 193140 h 1013988"/>
              <a:gd name="connsiteX5" fmla="*/ 172016 w 1206976"/>
              <a:gd name="connsiteY5" fmla="*/ 238408 h 1013988"/>
              <a:gd name="connsiteX6" fmla="*/ 162962 w 1206976"/>
              <a:gd name="connsiteY6" fmla="*/ 325925 h 1013988"/>
              <a:gd name="connsiteX7" fmla="*/ 54321 w 1206976"/>
              <a:gd name="connsiteY7" fmla="*/ 476816 h 1013988"/>
              <a:gd name="connsiteX8" fmla="*/ 54321 w 1206976"/>
              <a:gd name="connsiteY8" fmla="*/ 519065 h 1013988"/>
              <a:gd name="connsiteX9" fmla="*/ 21125 w 1206976"/>
              <a:gd name="connsiteY9" fmla="*/ 558297 h 1013988"/>
              <a:gd name="connsiteX10" fmla="*/ 15089 w 1206976"/>
              <a:gd name="connsiteY10" fmla="*/ 615636 h 1013988"/>
              <a:gd name="connsiteX11" fmla="*/ 0 w 1206976"/>
              <a:gd name="connsiteY11" fmla="*/ 688063 h 1013988"/>
              <a:gd name="connsiteX12" fmla="*/ 6036 w 1206976"/>
              <a:gd name="connsiteY12" fmla="*/ 748420 h 1013988"/>
              <a:gd name="connsiteX13" fmla="*/ 591493 w 1206976"/>
              <a:gd name="connsiteY13" fmla="*/ 917418 h 1013988"/>
              <a:gd name="connsiteX14" fmla="*/ 1029077 w 1206976"/>
              <a:gd name="connsiteY14" fmla="*/ 1013988 h 1013988"/>
              <a:gd name="connsiteX15" fmla="*/ 1071327 w 1206976"/>
              <a:gd name="connsiteY15" fmla="*/ 712206 h 1013988"/>
              <a:gd name="connsiteX16" fmla="*/ 1107541 w 1206976"/>
              <a:gd name="connsiteY16" fmla="*/ 642796 h 1013988"/>
              <a:gd name="connsiteX17" fmla="*/ 1092452 w 1206976"/>
              <a:gd name="connsiteY17" fmla="*/ 612618 h 1013988"/>
              <a:gd name="connsiteX18" fmla="*/ 1083398 w 1206976"/>
              <a:gd name="connsiteY18" fmla="*/ 615636 h 1013988"/>
              <a:gd name="connsiteX19" fmla="*/ 1083398 w 1206976"/>
              <a:gd name="connsiteY19" fmla="*/ 543208 h 1013988"/>
              <a:gd name="connsiteX20" fmla="*/ 1134701 w 1206976"/>
              <a:gd name="connsiteY20" fmla="*/ 519065 h 1013988"/>
              <a:gd name="connsiteX21" fmla="*/ 1149790 w 1206976"/>
              <a:gd name="connsiteY21" fmla="*/ 419477 h 1013988"/>
              <a:gd name="connsiteX22" fmla="*/ 1206976 w 1206976"/>
              <a:gd name="connsiteY22" fmla="*/ 392317 h 1013988"/>
              <a:gd name="connsiteX23" fmla="*/ 1204592 w 1206976"/>
              <a:gd name="connsiteY23" fmla="*/ 322907 h 1013988"/>
              <a:gd name="connsiteX24" fmla="*/ 1182986 w 1206976"/>
              <a:gd name="connsiteY24" fmla="*/ 292729 h 1013988"/>
              <a:gd name="connsiteX25" fmla="*/ 1164879 w 1206976"/>
              <a:gd name="connsiteY25" fmla="*/ 292729 h 1013988"/>
              <a:gd name="connsiteX26" fmla="*/ 1131683 w 1206976"/>
              <a:gd name="connsiteY26" fmla="*/ 271604 h 1013988"/>
              <a:gd name="connsiteX27" fmla="*/ 1089434 w 1206976"/>
              <a:gd name="connsiteY27" fmla="*/ 271604 h 1013988"/>
              <a:gd name="connsiteX28" fmla="*/ 1059256 w 1206976"/>
              <a:gd name="connsiteY28" fmla="*/ 268586 h 1013988"/>
              <a:gd name="connsiteX29" fmla="*/ 998899 w 1206976"/>
              <a:gd name="connsiteY29" fmla="*/ 235390 h 1013988"/>
              <a:gd name="connsiteX30" fmla="*/ 968721 w 1206976"/>
              <a:gd name="connsiteY30" fmla="*/ 247461 h 1013988"/>
              <a:gd name="connsiteX31" fmla="*/ 908364 w 1206976"/>
              <a:gd name="connsiteY31" fmla="*/ 220301 h 1013988"/>
              <a:gd name="connsiteX32" fmla="*/ 854044 w 1206976"/>
              <a:gd name="connsiteY32" fmla="*/ 235390 h 1013988"/>
              <a:gd name="connsiteX33" fmla="*/ 832919 w 1206976"/>
              <a:gd name="connsiteY33" fmla="*/ 226336 h 1013988"/>
              <a:gd name="connsiteX34" fmla="*/ 715224 w 1206976"/>
              <a:gd name="connsiteY34" fmla="*/ 226336 h 1013988"/>
              <a:gd name="connsiteX35" fmla="*/ 648832 w 1206976"/>
              <a:gd name="connsiteY35" fmla="*/ 181069 h 1013988"/>
              <a:gd name="connsiteX36" fmla="*/ 588475 w 1206976"/>
              <a:gd name="connsiteY36" fmla="*/ 208230 h 1013988"/>
              <a:gd name="connsiteX37" fmla="*/ 531137 w 1206976"/>
              <a:gd name="connsiteY37" fmla="*/ 144855 h 1013988"/>
              <a:gd name="connsiteX38" fmla="*/ 407406 w 1206976"/>
              <a:gd name="connsiteY38" fmla="*/ 172016 h 1013988"/>
              <a:gd name="connsiteX39" fmla="*/ 392317 w 1206976"/>
              <a:gd name="connsiteY39" fmla="*/ 60356 h 1013988"/>
              <a:gd name="connsiteX40" fmla="*/ 265568 w 1206976"/>
              <a:gd name="connsiteY40" fmla="*/ 0 h 1013988"/>
              <a:gd name="connsiteX0" fmla="*/ 265568 w 1206976"/>
              <a:gd name="connsiteY0" fmla="*/ 0 h 1013988"/>
              <a:gd name="connsiteX1" fmla="*/ 250479 w 1206976"/>
              <a:gd name="connsiteY1" fmla="*/ 72428 h 1013988"/>
              <a:gd name="connsiteX2" fmla="*/ 250479 w 1206976"/>
              <a:gd name="connsiteY2" fmla="*/ 114677 h 1013988"/>
              <a:gd name="connsiteX3" fmla="*/ 232372 w 1206976"/>
              <a:gd name="connsiteY3" fmla="*/ 132784 h 1013988"/>
              <a:gd name="connsiteX4" fmla="*/ 217283 w 1206976"/>
              <a:gd name="connsiteY4" fmla="*/ 193140 h 1013988"/>
              <a:gd name="connsiteX5" fmla="*/ 172016 w 1206976"/>
              <a:gd name="connsiteY5" fmla="*/ 238408 h 1013988"/>
              <a:gd name="connsiteX6" fmla="*/ 162962 w 1206976"/>
              <a:gd name="connsiteY6" fmla="*/ 325925 h 1013988"/>
              <a:gd name="connsiteX7" fmla="*/ 54321 w 1206976"/>
              <a:gd name="connsiteY7" fmla="*/ 476816 h 1013988"/>
              <a:gd name="connsiteX8" fmla="*/ 54321 w 1206976"/>
              <a:gd name="connsiteY8" fmla="*/ 519065 h 1013988"/>
              <a:gd name="connsiteX9" fmla="*/ 21125 w 1206976"/>
              <a:gd name="connsiteY9" fmla="*/ 558297 h 1013988"/>
              <a:gd name="connsiteX10" fmla="*/ 15089 w 1206976"/>
              <a:gd name="connsiteY10" fmla="*/ 615636 h 1013988"/>
              <a:gd name="connsiteX11" fmla="*/ 0 w 1206976"/>
              <a:gd name="connsiteY11" fmla="*/ 688063 h 1013988"/>
              <a:gd name="connsiteX12" fmla="*/ 6036 w 1206976"/>
              <a:gd name="connsiteY12" fmla="*/ 748420 h 1013988"/>
              <a:gd name="connsiteX13" fmla="*/ 591493 w 1206976"/>
              <a:gd name="connsiteY13" fmla="*/ 917418 h 1013988"/>
              <a:gd name="connsiteX14" fmla="*/ 1029077 w 1206976"/>
              <a:gd name="connsiteY14" fmla="*/ 1013988 h 1013988"/>
              <a:gd name="connsiteX15" fmla="*/ 1071327 w 1206976"/>
              <a:gd name="connsiteY15" fmla="*/ 712206 h 1013988"/>
              <a:gd name="connsiteX16" fmla="*/ 1107541 w 1206976"/>
              <a:gd name="connsiteY16" fmla="*/ 642796 h 1013988"/>
              <a:gd name="connsiteX17" fmla="*/ 1092452 w 1206976"/>
              <a:gd name="connsiteY17" fmla="*/ 612618 h 1013988"/>
              <a:gd name="connsiteX18" fmla="*/ 1083398 w 1206976"/>
              <a:gd name="connsiteY18" fmla="*/ 615636 h 1013988"/>
              <a:gd name="connsiteX19" fmla="*/ 1083398 w 1206976"/>
              <a:gd name="connsiteY19" fmla="*/ 543208 h 1013988"/>
              <a:gd name="connsiteX20" fmla="*/ 1134701 w 1206976"/>
              <a:gd name="connsiteY20" fmla="*/ 519065 h 1013988"/>
              <a:gd name="connsiteX21" fmla="*/ 1149790 w 1206976"/>
              <a:gd name="connsiteY21" fmla="*/ 419477 h 1013988"/>
              <a:gd name="connsiteX22" fmla="*/ 1206976 w 1206976"/>
              <a:gd name="connsiteY22" fmla="*/ 392317 h 1013988"/>
              <a:gd name="connsiteX23" fmla="*/ 1204592 w 1206976"/>
              <a:gd name="connsiteY23" fmla="*/ 322907 h 1013988"/>
              <a:gd name="connsiteX24" fmla="*/ 1182986 w 1206976"/>
              <a:gd name="connsiteY24" fmla="*/ 292729 h 1013988"/>
              <a:gd name="connsiteX25" fmla="*/ 1164879 w 1206976"/>
              <a:gd name="connsiteY25" fmla="*/ 292729 h 1013988"/>
              <a:gd name="connsiteX26" fmla="*/ 1131683 w 1206976"/>
              <a:gd name="connsiteY26" fmla="*/ 271604 h 1013988"/>
              <a:gd name="connsiteX27" fmla="*/ 1089434 w 1206976"/>
              <a:gd name="connsiteY27" fmla="*/ 271604 h 1013988"/>
              <a:gd name="connsiteX28" fmla="*/ 1059256 w 1206976"/>
              <a:gd name="connsiteY28" fmla="*/ 268586 h 1013988"/>
              <a:gd name="connsiteX29" fmla="*/ 998899 w 1206976"/>
              <a:gd name="connsiteY29" fmla="*/ 235390 h 1013988"/>
              <a:gd name="connsiteX30" fmla="*/ 968721 w 1206976"/>
              <a:gd name="connsiteY30" fmla="*/ 247461 h 1013988"/>
              <a:gd name="connsiteX31" fmla="*/ 908364 w 1206976"/>
              <a:gd name="connsiteY31" fmla="*/ 220301 h 1013988"/>
              <a:gd name="connsiteX32" fmla="*/ 854044 w 1206976"/>
              <a:gd name="connsiteY32" fmla="*/ 235390 h 1013988"/>
              <a:gd name="connsiteX33" fmla="*/ 832919 w 1206976"/>
              <a:gd name="connsiteY33" fmla="*/ 226336 h 1013988"/>
              <a:gd name="connsiteX34" fmla="*/ 717607 w 1206976"/>
              <a:gd name="connsiteY34" fmla="*/ 214435 h 1013988"/>
              <a:gd name="connsiteX35" fmla="*/ 648832 w 1206976"/>
              <a:gd name="connsiteY35" fmla="*/ 181069 h 1013988"/>
              <a:gd name="connsiteX36" fmla="*/ 588475 w 1206976"/>
              <a:gd name="connsiteY36" fmla="*/ 208230 h 1013988"/>
              <a:gd name="connsiteX37" fmla="*/ 531137 w 1206976"/>
              <a:gd name="connsiteY37" fmla="*/ 144855 h 1013988"/>
              <a:gd name="connsiteX38" fmla="*/ 407406 w 1206976"/>
              <a:gd name="connsiteY38" fmla="*/ 172016 h 1013988"/>
              <a:gd name="connsiteX39" fmla="*/ 392317 w 1206976"/>
              <a:gd name="connsiteY39" fmla="*/ 60356 h 1013988"/>
              <a:gd name="connsiteX40" fmla="*/ 265568 w 1206976"/>
              <a:gd name="connsiteY40" fmla="*/ 0 h 1013988"/>
              <a:gd name="connsiteX0" fmla="*/ 265568 w 1206976"/>
              <a:gd name="connsiteY0" fmla="*/ 0 h 1013988"/>
              <a:gd name="connsiteX1" fmla="*/ 250479 w 1206976"/>
              <a:gd name="connsiteY1" fmla="*/ 72428 h 1013988"/>
              <a:gd name="connsiteX2" fmla="*/ 250479 w 1206976"/>
              <a:gd name="connsiteY2" fmla="*/ 114677 h 1013988"/>
              <a:gd name="connsiteX3" fmla="*/ 232372 w 1206976"/>
              <a:gd name="connsiteY3" fmla="*/ 132784 h 1013988"/>
              <a:gd name="connsiteX4" fmla="*/ 217283 w 1206976"/>
              <a:gd name="connsiteY4" fmla="*/ 193140 h 1013988"/>
              <a:gd name="connsiteX5" fmla="*/ 172016 w 1206976"/>
              <a:gd name="connsiteY5" fmla="*/ 238408 h 1013988"/>
              <a:gd name="connsiteX6" fmla="*/ 162962 w 1206976"/>
              <a:gd name="connsiteY6" fmla="*/ 325925 h 1013988"/>
              <a:gd name="connsiteX7" fmla="*/ 54321 w 1206976"/>
              <a:gd name="connsiteY7" fmla="*/ 476816 h 1013988"/>
              <a:gd name="connsiteX8" fmla="*/ 54321 w 1206976"/>
              <a:gd name="connsiteY8" fmla="*/ 519065 h 1013988"/>
              <a:gd name="connsiteX9" fmla="*/ 21125 w 1206976"/>
              <a:gd name="connsiteY9" fmla="*/ 558297 h 1013988"/>
              <a:gd name="connsiteX10" fmla="*/ 15089 w 1206976"/>
              <a:gd name="connsiteY10" fmla="*/ 615636 h 1013988"/>
              <a:gd name="connsiteX11" fmla="*/ 0 w 1206976"/>
              <a:gd name="connsiteY11" fmla="*/ 688063 h 1013988"/>
              <a:gd name="connsiteX12" fmla="*/ 6036 w 1206976"/>
              <a:gd name="connsiteY12" fmla="*/ 748420 h 1013988"/>
              <a:gd name="connsiteX13" fmla="*/ 591493 w 1206976"/>
              <a:gd name="connsiteY13" fmla="*/ 917418 h 1013988"/>
              <a:gd name="connsiteX14" fmla="*/ 1029077 w 1206976"/>
              <a:gd name="connsiteY14" fmla="*/ 1013988 h 1013988"/>
              <a:gd name="connsiteX15" fmla="*/ 1071327 w 1206976"/>
              <a:gd name="connsiteY15" fmla="*/ 712206 h 1013988"/>
              <a:gd name="connsiteX16" fmla="*/ 1107541 w 1206976"/>
              <a:gd name="connsiteY16" fmla="*/ 642796 h 1013988"/>
              <a:gd name="connsiteX17" fmla="*/ 1092452 w 1206976"/>
              <a:gd name="connsiteY17" fmla="*/ 612618 h 1013988"/>
              <a:gd name="connsiteX18" fmla="*/ 1083398 w 1206976"/>
              <a:gd name="connsiteY18" fmla="*/ 615636 h 1013988"/>
              <a:gd name="connsiteX19" fmla="*/ 1083398 w 1206976"/>
              <a:gd name="connsiteY19" fmla="*/ 543208 h 1013988"/>
              <a:gd name="connsiteX20" fmla="*/ 1134701 w 1206976"/>
              <a:gd name="connsiteY20" fmla="*/ 519065 h 1013988"/>
              <a:gd name="connsiteX21" fmla="*/ 1149790 w 1206976"/>
              <a:gd name="connsiteY21" fmla="*/ 419477 h 1013988"/>
              <a:gd name="connsiteX22" fmla="*/ 1206976 w 1206976"/>
              <a:gd name="connsiteY22" fmla="*/ 392317 h 1013988"/>
              <a:gd name="connsiteX23" fmla="*/ 1204592 w 1206976"/>
              <a:gd name="connsiteY23" fmla="*/ 322907 h 1013988"/>
              <a:gd name="connsiteX24" fmla="*/ 1182986 w 1206976"/>
              <a:gd name="connsiteY24" fmla="*/ 292729 h 1013988"/>
              <a:gd name="connsiteX25" fmla="*/ 1164879 w 1206976"/>
              <a:gd name="connsiteY25" fmla="*/ 292729 h 1013988"/>
              <a:gd name="connsiteX26" fmla="*/ 1131683 w 1206976"/>
              <a:gd name="connsiteY26" fmla="*/ 271604 h 1013988"/>
              <a:gd name="connsiteX27" fmla="*/ 1089434 w 1206976"/>
              <a:gd name="connsiteY27" fmla="*/ 271604 h 1013988"/>
              <a:gd name="connsiteX28" fmla="*/ 1059256 w 1206976"/>
              <a:gd name="connsiteY28" fmla="*/ 268586 h 1013988"/>
              <a:gd name="connsiteX29" fmla="*/ 998899 w 1206976"/>
              <a:gd name="connsiteY29" fmla="*/ 235390 h 1013988"/>
              <a:gd name="connsiteX30" fmla="*/ 968721 w 1206976"/>
              <a:gd name="connsiteY30" fmla="*/ 247461 h 1013988"/>
              <a:gd name="connsiteX31" fmla="*/ 908364 w 1206976"/>
              <a:gd name="connsiteY31" fmla="*/ 220301 h 1013988"/>
              <a:gd name="connsiteX32" fmla="*/ 854044 w 1206976"/>
              <a:gd name="connsiteY32" fmla="*/ 235390 h 1013988"/>
              <a:gd name="connsiteX33" fmla="*/ 823384 w 1206976"/>
              <a:gd name="connsiteY33" fmla="*/ 219195 h 1013988"/>
              <a:gd name="connsiteX34" fmla="*/ 717607 w 1206976"/>
              <a:gd name="connsiteY34" fmla="*/ 214435 h 1013988"/>
              <a:gd name="connsiteX35" fmla="*/ 648832 w 1206976"/>
              <a:gd name="connsiteY35" fmla="*/ 181069 h 1013988"/>
              <a:gd name="connsiteX36" fmla="*/ 588475 w 1206976"/>
              <a:gd name="connsiteY36" fmla="*/ 208230 h 1013988"/>
              <a:gd name="connsiteX37" fmla="*/ 531137 w 1206976"/>
              <a:gd name="connsiteY37" fmla="*/ 144855 h 1013988"/>
              <a:gd name="connsiteX38" fmla="*/ 407406 w 1206976"/>
              <a:gd name="connsiteY38" fmla="*/ 172016 h 1013988"/>
              <a:gd name="connsiteX39" fmla="*/ 392317 w 1206976"/>
              <a:gd name="connsiteY39" fmla="*/ 60356 h 1013988"/>
              <a:gd name="connsiteX40" fmla="*/ 265568 w 1206976"/>
              <a:gd name="connsiteY40" fmla="*/ 0 h 1013988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4879 w 1206976"/>
              <a:gd name="connsiteY25" fmla="*/ 311771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59256 w 1206976"/>
              <a:gd name="connsiteY28" fmla="*/ 287628 h 1033030"/>
              <a:gd name="connsiteX29" fmla="*/ 998899 w 1206976"/>
              <a:gd name="connsiteY29" fmla="*/ 254432 h 1033030"/>
              <a:gd name="connsiteX30" fmla="*/ 968721 w 1206976"/>
              <a:gd name="connsiteY30" fmla="*/ 266503 h 1033030"/>
              <a:gd name="connsiteX31" fmla="*/ 908364 w 1206976"/>
              <a:gd name="connsiteY31" fmla="*/ 239343 h 1033030"/>
              <a:gd name="connsiteX32" fmla="*/ 854044 w 1206976"/>
              <a:gd name="connsiteY32" fmla="*/ 254432 h 1033030"/>
              <a:gd name="connsiteX33" fmla="*/ 823384 w 1206976"/>
              <a:gd name="connsiteY33" fmla="*/ 238237 h 1033030"/>
              <a:gd name="connsiteX34" fmla="*/ 717607 w 1206976"/>
              <a:gd name="connsiteY34" fmla="*/ 233477 h 1033030"/>
              <a:gd name="connsiteX35" fmla="*/ 648832 w 1206976"/>
              <a:gd name="connsiteY35" fmla="*/ 200111 h 1033030"/>
              <a:gd name="connsiteX36" fmla="*/ 588475 w 1206976"/>
              <a:gd name="connsiteY36" fmla="*/ 227272 h 1033030"/>
              <a:gd name="connsiteX37" fmla="*/ 531137 w 1206976"/>
              <a:gd name="connsiteY37" fmla="*/ 163897 h 1033030"/>
              <a:gd name="connsiteX38" fmla="*/ 407406 w 1206976"/>
              <a:gd name="connsiteY38" fmla="*/ 191058 h 1033030"/>
              <a:gd name="connsiteX39" fmla="*/ 392317 w 1206976"/>
              <a:gd name="connsiteY39" fmla="*/ 79398 h 1033030"/>
              <a:gd name="connsiteX40" fmla="*/ 275103 w 1206976"/>
              <a:gd name="connsiteY40" fmla="*/ 0 h 1033030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4879 w 1206976"/>
              <a:gd name="connsiteY25" fmla="*/ 311771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59256 w 1206976"/>
              <a:gd name="connsiteY28" fmla="*/ 287628 h 1033030"/>
              <a:gd name="connsiteX29" fmla="*/ 998899 w 1206976"/>
              <a:gd name="connsiteY29" fmla="*/ 254432 h 1033030"/>
              <a:gd name="connsiteX30" fmla="*/ 968721 w 1206976"/>
              <a:gd name="connsiteY30" fmla="*/ 266503 h 1033030"/>
              <a:gd name="connsiteX31" fmla="*/ 908364 w 1206976"/>
              <a:gd name="connsiteY31" fmla="*/ 239343 h 1033030"/>
              <a:gd name="connsiteX32" fmla="*/ 854044 w 1206976"/>
              <a:gd name="connsiteY32" fmla="*/ 254432 h 1033030"/>
              <a:gd name="connsiteX33" fmla="*/ 823384 w 1206976"/>
              <a:gd name="connsiteY33" fmla="*/ 238237 h 1033030"/>
              <a:gd name="connsiteX34" fmla="*/ 717607 w 1206976"/>
              <a:gd name="connsiteY34" fmla="*/ 233477 h 1033030"/>
              <a:gd name="connsiteX35" fmla="*/ 648832 w 1206976"/>
              <a:gd name="connsiteY35" fmla="*/ 200111 h 1033030"/>
              <a:gd name="connsiteX36" fmla="*/ 593242 w 1206976"/>
              <a:gd name="connsiteY36" fmla="*/ 215370 h 1033030"/>
              <a:gd name="connsiteX37" fmla="*/ 531137 w 1206976"/>
              <a:gd name="connsiteY37" fmla="*/ 163897 h 1033030"/>
              <a:gd name="connsiteX38" fmla="*/ 407406 w 1206976"/>
              <a:gd name="connsiteY38" fmla="*/ 191058 h 1033030"/>
              <a:gd name="connsiteX39" fmla="*/ 392317 w 1206976"/>
              <a:gd name="connsiteY39" fmla="*/ 79398 h 1033030"/>
              <a:gd name="connsiteX40" fmla="*/ 275103 w 1206976"/>
              <a:gd name="connsiteY40" fmla="*/ 0 h 1033030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4879 w 1206976"/>
              <a:gd name="connsiteY25" fmla="*/ 311771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61640 w 1206976"/>
              <a:gd name="connsiteY28" fmla="*/ 275727 h 1033030"/>
              <a:gd name="connsiteX29" fmla="*/ 998899 w 1206976"/>
              <a:gd name="connsiteY29" fmla="*/ 254432 h 1033030"/>
              <a:gd name="connsiteX30" fmla="*/ 968721 w 1206976"/>
              <a:gd name="connsiteY30" fmla="*/ 266503 h 1033030"/>
              <a:gd name="connsiteX31" fmla="*/ 908364 w 1206976"/>
              <a:gd name="connsiteY31" fmla="*/ 239343 h 1033030"/>
              <a:gd name="connsiteX32" fmla="*/ 854044 w 1206976"/>
              <a:gd name="connsiteY32" fmla="*/ 254432 h 1033030"/>
              <a:gd name="connsiteX33" fmla="*/ 823384 w 1206976"/>
              <a:gd name="connsiteY33" fmla="*/ 238237 h 1033030"/>
              <a:gd name="connsiteX34" fmla="*/ 717607 w 1206976"/>
              <a:gd name="connsiteY34" fmla="*/ 233477 h 1033030"/>
              <a:gd name="connsiteX35" fmla="*/ 648832 w 1206976"/>
              <a:gd name="connsiteY35" fmla="*/ 200111 h 1033030"/>
              <a:gd name="connsiteX36" fmla="*/ 593242 w 1206976"/>
              <a:gd name="connsiteY36" fmla="*/ 215370 h 1033030"/>
              <a:gd name="connsiteX37" fmla="*/ 531137 w 1206976"/>
              <a:gd name="connsiteY37" fmla="*/ 163897 h 1033030"/>
              <a:gd name="connsiteX38" fmla="*/ 407406 w 1206976"/>
              <a:gd name="connsiteY38" fmla="*/ 191058 h 1033030"/>
              <a:gd name="connsiteX39" fmla="*/ 392317 w 1206976"/>
              <a:gd name="connsiteY39" fmla="*/ 79398 h 1033030"/>
              <a:gd name="connsiteX40" fmla="*/ 275103 w 1206976"/>
              <a:gd name="connsiteY40" fmla="*/ 0 h 1033030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4879 w 1206976"/>
              <a:gd name="connsiteY25" fmla="*/ 311771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61640 w 1206976"/>
              <a:gd name="connsiteY28" fmla="*/ 275727 h 1033030"/>
              <a:gd name="connsiteX29" fmla="*/ 1006050 w 1206976"/>
              <a:gd name="connsiteY29" fmla="*/ 247291 h 1033030"/>
              <a:gd name="connsiteX30" fmla="*/ 968721 w 1206976"/>
              <a:gd name="connsiteY30" fmla="*/ 266503 h 1033030"/>
              <a:gd name="connsiteX31" fmla="*/ 908364 w 1206976"/>
              <a:gd name="connsiteY31" fmla="*/ 239343 h 1033030"/>
              <a:gd name="connsiteX32" fmla="*/ 854044 w 1206976"/>
              <a:gd name="connsiteY32" fmla="*/ 254432 h 1033030"/>
              <a:gd name="connsiteX33" fmla="*/ 823384 w 1206976"/>
              <a:gd name="connsiteY33" fmla="*/ 238237 h 1033030"/>
              <a:gd name="connsiteX34" fmla="*/ 717607 w 1206976"/>
              <a:gd name="connsiteY34" fmla="*/ 233477 h 1033030"/>
              <a:gd name="connsiteX35" fmla="*/ 648832 w 1206976"/>
              <a:gd name="connsiteY35" fmla="*/ 200111 h 1033030"/>
              <a:gd name="connsiteX36" fmla="*/ 593242 w 1206976"/>
              <a:gd name="connsiteY36" fmla="*/ 215370 h 1033030"/>
              <a:gd name="connsiteX37" fmla="*/ 531137 w 1206976"/>
              <a:gd name="connsiteY37" fmla="*/ 163897 h 1033030"/>
              <a:gd name="connsiteX38" fmla="*/ 407406 w 1206976"/>
              <a:gd name="connsiteY38" fmla="*/ 191058 h 1033030"/>
              <a:gd name="connsiteX39" fmla="*/ 392317 w 1206976"/>
              <a:gd name="connsiteY39" fmla="*/ 79398 h 1033030"/>
              <a:gd name="connsiteX40" fmla="*/ 275103 w 1206976"/>
              <a:gd name="connsiteY40" fmla="*/ 0 h 1033030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4879 w 1206976"/>
              <a:gd name="connsiteY25" fmla="*/ 311771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61640 w 1206976"/>
              <a:gd name="connsiteY28" fmla="*/ 275727 h 1033030"/>
              <a:gd name="connsiteX29" fmla="*/ 1006050 w 1206976"/>
              <a:gd name="connsiteY29" fmla="*/ 247291 h 1033030"/>
              <a:gd name="connsiteX30" fmla="*/ 968721 w 1206976"/>
              <a:gd name="connsiteY30" fmla="*/ 266503 h 1033030"/>
              <a:gd name="connsiteX31" fmla="*/ 966217 w 1206976"/>
              <a:gd name="connsiteY31" fmla="*/ 261034 h 1033030"/>
              <a:gd name="connsiteX32" fmla="*/ 908364 w 1206976"/>
              <a:gd name="connsiteY32" fmla="*/ 239343 h 1033030"/>
              <a:gd name="connsiteX33" fmla="*/ 854044 w 1206976"/>
              <a:gd name="connsiteY33" fmla="*/ 254432 h 1033030"/>
              <a:gd name="connsiteX34" fmla="*/ 823384 w 1206976"/>
              <a:gd name="connsiteY34" fmla="*/ 238237 h 1033030"/>
              <a:gd name="connsiteX35" fmla="*/ 717607 w 1206976"/>
              <a:gd name="connsiteY35" fmla="*/ 233477 h 1033030"/>
              <a:gd name="connsiteX36" fmla="*/ 648832 w 1206976"/>
              <a:gd name="connsiteY36" fmla="*/ 200111 h 1033030"/>
              <a:gd name="connsiteX37" fmla="*/ 593242 w 1206976"/>
              <a:gd name="connsiteY37" fmla="*/ 215370 h 1033030"/>
              <a:gd name="connsiteX38" fmla="*/ 531137 w 1206976"/>
              <a:gd name="connsiteY38" fmla="*/ 163897 h 1033030"/>
              <a:gd name="connsiteX39" fmla="*/ 407406 w 1206976"/>
              <a:gd name="connsiteY39" fmla="*/ 191058 h 1033030"/>
              <a:gd name="connsiteX40" fmla="*/ 392317 w 1206976"/>
              <a:gd name="connsiteY40" fmla="*/ 79398 h 1033030"/>
              <a:gd name="connsiteX41" fmla="*/ 275103 w 1206976"/>
              <a:gd name="connsiteY41" fmla="*/ 0 h 1033030"/>
              <a:gd name="connsiteX0" fmla="*/ 275103 w 1206976"/>
              <a:gd name="connsiteY0" fmla="*/ 0 h 1033030"/>
              <a:gd name="connsiteX1" fmla="*/ 250479 w 1206976"/>
              <a:gd name="connsiteY1" fmla="*/ 91470 h 1033030"/>
              <a:gd name="connsiteX2" fmla="*/ 250479 w 1206976"/>
              <a:gd name="connsiteY2" fmla="*/ 133719 h 1033030"/>
              <a:gd name="connsiteX3" fmla="*/ 232372 w 1206976"/>
              <a:gd name="connsiteY3" fmla="*/ 151826 h 1033030"/>
              <a:gd name="connsiteX4" fmla="*/ 217283 w 1206976"/>
              <a:gd name="connsiteY4" fmla="*/ 212182 h 1033030"/>
              <a:gd name="connsiteX5" fmla="*/ 172016 w 1206976"/>
              <a:gd name="connsiteY5" fmla="*/ 257450 h 1033030"/>
              <a:gd name="connsiteX6" fmla="*/ 162962 w 1206976"/>
              <a:gd name="connsiteY6" fmla="*/ 344967 h 1033030"/>
              <a:gd name="connsiteX7" fmla="*/ 54321 w 1206976"/>
              <a:gd name="connsiteY7" fmla="*/ 495858 h 1033030"/>
              <a:gd name="connsiteX8" fmla="*/ 54321 w 1206976"/>
              <a:gd name="connsiteY8" fmla="*/ 538107 h 1033030"/>
              <a:gd name="connsiteX9" fmla="*/ 21125 w 1206976"/>
              <a:gd name="connsiteY9" fmla="*/ 577339 h 1033030"/>
              <a:gd name="connsiteX10" fmla="*/ 15089 w 1206976"/>
              <a:gd name="connsiteY10" fmla="*/ 634678 h 1033030"/>
              <a:gd name="connsiteX11" fmla="*/ 0 w 1206976"/>
              <a:gd name="connsiteY11" fmla="*/ 707105 h 1033030"/>
              <a:gd name="connsiteX12" fmla="*/ 6036 w 1206976"/>
              <a:gd name="connsiteY12" fmla="*/ 767462 h 1033030"/>
              <a:gd name="connsiteX13" fmla="*/ 591493 w 1206976"/>
              <a:gd name="connsiteY13" fmla="*/ 936460 h 1033030"/>
              <a:gd name="connsiteX14" fmla="*/ 1029077 w 1206976"/>
              <a:gd name="connsiteY14" fmla="*/ 1033030 h 1033030"/>
              <a:gd name="connsiteX15" fmla="*/ 1071327 w 1206976"/>
              <a:gd name="connsiteY15" fmla="*/ 731248 h 1033030"/>
              <a:gd name="connsiteX16" fmla="*/ 1107541 w 1206976"/>
              <a:gd name="connsiteY16" fmla="*/ 661838 h 1033030"/>
              <a:gd name="connsiteX17" fmla="*/ 1092452 w 1206976"/>
              <a:gd name="connsiteY17" fmla="*/ 631660 h 1033030"/>
              <a:gd name="connsiteX18" fmla="*/ 1083398 w 1206976"/>
              <a:gd name="connsiteY18" fmla="*/ 634678 h 1033030"/>
              <a:gd name="connsiteX19" fmla="*/ 1083398 w 1206976"/>
              <a:gd name="connsiteY19" fmla="*/ 562250 h 1033030"/>
              <a:gd name="connsiteX20" fmla="*/ 1134701 w 1206976"/>
              <a:gd name="connsiteY20" fmla="*/ 538107 h 1033030"/>
              <a:gd name="connsiteX21" fmla="*/ 1149790 w 1206976"/>
              <a:gd name="connsiteY21" fmla="*/ 438519 h 1033030"/>
              <a:gd name="connsiteX22" fmla="*/ 1206976 w 1206976"/>
              <a:gd name="connsiteY22" fmla="*/ 411359 h 1033030"/>
              <a:gd name="connsiteX23" fmla="*/ 1204592 w 1206976"/>
              <a:gd name="connsiteY23" fmla="*/ 341949 h 1033030"/>
              <a:gd name="connsiteX24" fmla="*/ 1182986 w 1206976"/>
              <a:gd name="connsiteY24" fmla="*/ 311771 h 1033030"/>
              <a:gd name="connsiteX25" fmla="*/ 1167263 w 1206976"/>
              <a:gd name="connsiteY25" fmla="*/ 287969 h 1033030"/>
              <a:gd name="connsiteX26" fmla="*/ 1131683 w 1206976"/>
              <a:gd name="connsiteY26" fmla="*/ 290646 h 1033030"/>
              <a:gd name="connsiteX27" fmla="*/ 1089434 w 1206976"/>
              <a:gd name="connsiteY27" fmla="*/ 290646 h 1033030"/>
              <a:gd name="connsiteX28" fmla="*/ 1061640 w 1206976"/>
              <a:gd name="connsiteY28" fmla="*/ 275727 h 1033030"/>
              <a:gd name="connsiteX29" fmla="*/ 1006050 w 1206976"/>
              <a:gd name="connsiteY29" fmla="*/ 247291 h 1033030"/>
              <a:gd name="connsiteX30" fmla="*/ 968721 w 1206976"/>
              <a:gd name="connsiteY30" fmla="*/ 266503 h 1033030"/>
              <a:gd name="connsiteX31" fmla="*/ 966217 w 1206976"/>
              <a:gd name="connsiteY31" fmla="*/ 261034 h 1033030"/>
              <a:gd name="connsiteX32" fmla="*/ 908364 w 1206976"/>
              <a:gd name="connsiteY32" fmla="*/ 239343 h 1033030"/>
              <a:gd name="connsiteX33" fmla="*/ 854044 w 1206976"/>
              <a:gd name="connsiteY33" fmla="*/ 254432 h 1033030"/>
              <a:gd name="connsiteX34" fmla="*/ 823384 w 1206976"/>
              <a:gd name="connsiteY34" fmla="*/ 238237 h 1033030"/>
              <a:gd name="connsiteX35" fmla="*/ 717607 w 1206976"/>
              <a:gd name="connsiteY35" fmla="*/ 233477 h 1033030"/>
              <a:gd name="connsiteX36" fmla="*/ 648832 w 1206976"/>
              <a:gd name="connsiteY36" fmla="*/ 200111 h 1033030"/>
              <a:gd name="connsiteX37" fmla="*/ 593242 w 1206976"/>
              <a:gd name="connsiteY37" fmla="*/ 215370 h 1033030"/>
              <a:gd name="connsiteX38" fmla="*/ 531137 w 1206976"/>
              <a:gd name="connsiteY38" fmla="*/ 163897 h 1033030"/>
              <a:gd name="connsiteX39" fmla="*/ 407406 w 1206976"/>
              <a:gd name="connsiteY39" fmla="*/ 191058 h 1033030"/>
              <a:gd name="connsiteX40" fmla="*/ 392317 w 1206976"/>
              <a:gd name="connsiteY40" fmla="*/ 79398 h 1033030"/>
              <a:gd name="connsiteX41" fmla="*/ 275103 w 1206976"/>
              <a:gd name="connsiteY41" fmla="*/ 0 h 1033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206976" h="1033030">
                <a:moveTo>
                  <a:pt x="275103" y="0"/>
                </a:moveTo>
                <a:lnTo>
                  <a:pt x="250479" y="91470"/>
                </a:lnTo>
                <a:lnTo>
                  <a:pt x="250479" y="133719"/>
                </a:lnTo>
                <a:lnTo>
                  <a:pt x="232372" y="151826"/>
                </a:lnTo>
                <a:lnTo>
                  <a:pt x="217283" y="212182"/>
                </a:lnTo>
                <a:lnTo>
                  <a:pt x="172016" y="257450"/>
                </a:lnTo>
                <a:lnTo>
                  <a:pt x="162962" y="344967"/>
                </a:lnTo>
                <a:lnTo>
                  <a:pt x="54321" y="495858"/>
                </a:lnTo>
                <a:lnTo>
                  <a:pt x="54321" y="538107"/>
                </a:lnTo>
                <a:lnTo>
                  <a:pt x="21125" y="577339"/>
                </a:lnTo>
                <a:lnTo>
                  <a:pt x="15089" y="634678"/>
                </a:lnTo>
                <a:lnTo>
                  <a:pt x="0" y="707105"/>
                </a:lnTo>
                <a:lnTo>
                  <a:pt x="6036" y="767462"/>
                </a:lnTo>
                <a:lnTo>
                  <a:pt x="591493" y="936460"/>
                </a:lnTo>
                <a:lnTo>
                  <a:pt x="1029077" y="1033030"/>
                </a:lnTo>
                <a:lnTo>
                  <a:pt x="1071327" y="731248"/>
                </a:lnTo>
                <a:lnTo>
                  <a:pt x="1107541" y="661838"/>
                </a:lnTo>
                <a:lnTo>
                  <a:pt x="1092452" y="631660"/>
                </a:lnTo>
                <a:lnTo>
                  <a:pt x="1083398" y="634678"/>
                </a:lnTo>
                <a:lnTo>
                  <a:pt x="1083398" y="562250"/>
                </a:lnTo>
                <a:lnTo>
                  <a:pt x="1134701" y="538107"/>
                </a:lnTo>
                <a:lnTo>
                  <a:pt x="1149790" y="438519"/>
                </a:lnTo>
                <a:lnTo>
                  <a:pt x="1206976" y="411359"/>
                </a:lnTo>
                <a:cubicBezTo>
                  <a:pt x="1206181" y="388222"/>
                  <a:pt x="1205387" y="365086"/>
                  <a:pt x="1204592" y="341949"/>
                </a:cubicBezTo>
                <a:lnTo>
                  <a:pt x="1182986" y="311771"/>
                </a:lnTo>
                <a:lnTo>
                  <a:pt x="1167263" y="287969"/>
                </a:lnTo>
                <a:lnTo>
                  <a:pt x="1131683" y="290646"/>
                </a:lnTo>
                <a:lnTo>
                  <a:pt x="1089434" y="290646"/>
                </a:lnTo>
                <a:lnTo>
                  <a:pt x="1061640" y="275727"/>
                </a:lnTo>
                <a:lnTo>
                  <a:pt x="1006050" y="247291"/>
                </a:lnTo>
                <a:lnTo>
                  <a:pt x="968721" y="266503"/>
                </a:lnTo>
                <a:cubicBezTo>
                  <a:pt x="965502" y="266267"/>
                  <a:pt x="969436" y="261270"/>
                  <a:pt x="966217" y="261034"/>
                </a:cubicBezTo>
                <a:lnTo>
                  <a:pt x="908364" y="239343"/>
                </a:lnTo>
                <a:lnTo>
                  <a:pt x="854044" y="254432"/>
                </a:lnTo>
                <a:lnTo>
                  <a:pt x="823384" y="238237"/>
                </a:lnTo>
                <a:lnTo>
                  <a:pt x="717607" y="233477"/>
                </a:lnTo>
                <a:lnTo>
                  <a:pt x="648832" y="200111"/>
                </a:lnTo>
                <a:lnTo>
                  <a:pt x="593242" y="215370"/>
                </a:lnTo>
                <a:lnTo>
                  <a:pt x="531137" y="163897"/>
                </a:lnTo>
                <a:lnTo>
                  <a:pt x="407406" y="191058"/>
                </a:lnTo>
                <a:lnTo>
                  <a:pt x="392317" y="79398"/>
                </a:lnTo>
                <a:lnTo>
                  <a:pt x="27510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391975" y="3013096"/>
            <a:ext cx="946542" cy="1451675"/>
          </a:xfrm>
          <a:custGeom>
            <a:avLst/>
            <a:gdLst>
              <a:gd name="connsiteX0" fmla="*/ 111660 w 965703"/>
              <a:gd name="connsiteY0" fmla="*/ 0 h 1481751"/>
              <a:gd name="connsiteX1" fmla="*/ 0 w 965703"/>
              <a:gd name="connsiteY1" fmla="*/ 552262 h 1481751"/>
              <a:gd name="connsiteX2" fmla="*/ 669957 w 965703"/>
              <a:gd name="connsiteY2" fmla="*/ 1481751 h 1481751"/>
              <a:gd name="connsiteX3" fmla="*/ 700135 w 965703"/>
              <a:gd name="connsiteY3" fmla="*/ 1421394 h 1481751"/>
              <a:gd name="connsiteX4" fmla="*/ 688064 w 965703"/>
              <a:gd name="connsiteY4" fmla="*/ 1351984 h 1481751"/>
              <a:gd name="connsiteX5" fmla="*/ 712206 w 965703"/>
              <a:gd name="connsiteY5" fmla="*/ 1276539 h 1481751"/>
              <a:gd name="connsiteX6" fmla="*/ 808777 w 965703"/>
              <a:gd name="connsiteY6" fmla="*/ 1309735 h 1481751"/>
              <a:gd name="connsiteX7" fmla="*/ 965703 w 965703"/>
              <a:gd name="connsiteY7" fmla="*/ 178052 h 1481751"/>
              <a:gd name="connsiteX8" fmla="*/ 111660 w 965703"/>
              <a:gd name="connsiteY8" fmla="*/ 0 h 1481751"/>
              <a:gd name="connsiteX0" fmla="*/ 125955 w 979998"/>
              <a:gd name="connsiteY0" fmla="*/ 0 h 1481751"/>
              <a:gd name="connsiteX1" fmla="*/ 0 w 979998"/>
              <a:gd name="connsiteY1" fmla="*/ 552491 h 1481751"/>
              <a:gd name="connsiteX2" fmla="*/ 684252 w 979998"/>
              <a:gd name="connsiteY2" fmla="*/ 1481751 h 1481751"/>
              <a:gd name="connsiteX3" fmla="*/ 714430 w 979998"/>
              <a:gd name="connsiteY3" fmla="*/ 1421394 h 1481751"/>
              <a:gd name="connsiteX4" fmla="*/ 702359 w 979998"/>
              <a:gd name="connsiteY4" fmla="*/ 1351984 h 1481751"/>
              <a:gd name="connsiteX5" fmla="*/ 726501 w 979998"/>
              <a:gd name="connsiteY5" fmla="*/ 1276539 h 1481751"/>
              <a:gd name="connsiteX6" fmla="*/ 823072 w 979998"/>
              <a:gd name="connsiteY6" fmla="*/ 1309735 h 1481751"/>
              <a:gd name="connsiteX7" fmla="*/ 979998 w 979998"/>
              <a:gd name="connsiteY7" fmla="*/ 178052 h 1481751"/>
              <a:gd name="connsiteX8" fmla="*/ 125955 w 979998"/>
              <a:gd name="connsiteY8" fmla="*/ 0 h 1481751"/>
              <a:gd name="connsiteX0" fmla="*/ 125955 w 979998"/>
              <a:gd name="connsiteY0" fmla="*/ 0 h 1496659"/>
              <a:gd name="connsiteX1" fmla="*/ 0 w 979998"/>
              <a:gd name="connsiteY1" fmla="*/ 552491 h 1496659"/>
              <a:gd name="connsiteX2" fmla="*/ 684608 w 979998"/>
              <a:gd name="connsiteY2" fmla="*/ 1496659 h 1496659"/>
              <a:gd name="connsiteX3" fmla="*/ 714430 w 979998"/>
              <a:gd name="connsiteY3" fmla="*/ 1421394 h 1496659"/>
              <a:gd name="connsiteX4" fmla="*/ 702359 w 979998"/>
              <a:gd name="connsiteY4" fmla="*/ 1351984 h 1496659"/>
              <a:gd name="connsiteX5" fmla="*/ 726501 w 979998"/>
              <a:gd name="connsiteY5" fmla="*/ 1276539 h 1496659"/>
              <a:gd name="connsiteX6" fmla="*/ 823072 w 979998"/>
              <a:gd name="connsiteY6" fmla="*/ 1309735 h 1496659"/>
              <a:gd name="connsiteX7" fmla="*/ 979998 w 979998"/>
              <a:gd name="connsiteY7" fmla="*/ 178052 h 1496659"/>
              <a:gd name="connsiteX8" fmla="*/ 125955 w 979998"/>
              <a:gd name="connsiteY8" fmla="*/ 0 h 1496659"/>
              <a:gd name="connsiteX0" fmla="*/ 125955 w 979998"/>
              <a:gd name="connsiteY0" fmla="*/ 0 h 1496659"/>
              <a:gd name="connsiteX1" fmla="*/ 0 w 979998"/>
              <a:gd name="connsiteY1" fmla="*/ 552491 h 1496659"/>
              <a:gd name="connsiteX2" fmla="*/ 684608 w 979998"/>
              <a:gd name="connsiteY2" fmla="*/ 1496659 h 1496659"/>
              <a:gd name="connsiteX3" fmla="*/ 714430 w 979998"/>
              <a:gd name="connsiteY3" fmla="*/ 1421394 h 1496659"/>
              <a:gd name="connsiteX4" fmla="*/ 712255 w 979998"/>
              <a:gd name="connsiteY4" fmla="*/ 1359690 h 1496659"/>
              <a:gd name="connsiteX5" fmla="*/ 726501 w 979998"/>
              <a:gd name="connsiteY5" fmla="*/ 1276539 h 1496659"/>
              <a:gd name="connsiteX6" fmla="*/ 823072 w 979998"/>
              <a:gd name="connsiteY6" fmla="*/ 1309735 h 1496659"/>
              <a:gd name="connsiteX7" fmla="*/ 979998 w 979998"/>
              <a:gd name="connsiteY7" fmla="*/ 178052 h 1496659"/>
              <a:gd name="connsiteX8" fmla="*/ 125955 w 979998"/>
              <a:gd name="connsiteY8" fmla="*/ 0 h 1496659"/>
              <a:gd name="connsiteX0" fmla="*/ 125955 w 979998"/>
              <a:gd name="connsiteY0" fmla="*/ 0 h 1496659"/>
              <a:gd name="connsiteX1" fmla="*/ 0 w 979998"/>
              <a:gd name="connsiteY1" fmla="*/ 552491 h 1496659"/>
              <a:gd name="connsiteX2" fmla="*/ 684608 w 979998"/>
              <a:gd name="connsiteY2" fmla="*/ 1496659 h 1496659"/>
              <a:gd name="connsiteX3" fmla="*/ 714430 w 979998"/>
              <a:gd name="connsiteY3" fmla="*/ 1421394 h 1496659"/>
              <a:gd name="connsiteX4" fmla="*/ 712255 w 979998"/>
              <a:gd name="connsiteY4" fmla="*/ 1359690 h 1496659"/>
              <a:gd name="connsiteX5" fmla="*/ 743557 w 979998"/>
              <a:gd name="connsiteY5" fmla="*/ 1288979 h 1496659"/>
              <a:gd name="connsiteX6" fmla="*/ 823072 w 979998"/>
              <a:gd name="connsiteY6" fmla="*/ 1309735 h 1496659"/>
              <a:gd name="connsiteX7" fmla="*/ 979998 w 979998"/>
              <a:gd name="connsiteY7" fmla="*/ 178052 h 1496659"/>
              <a:gd name="connsiteX8" fmla="*/ 125955 w 979998"/>
              <a:gd name="connsiteY8" fmla="*/ 0 h 149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9998" h="1496659">
                <a:moveTo>
                  <a:pt x="125955" y="0"/>
                </a:moveTo>
                <a:lnTo>
                  <a:pt x="0" y="552491"/>
                </a:lnTo>
                <a:lnTo>
                  <a:pt x="684608" y="1496659"/>
                </a:lnTo>
                <a:lnTo>
                  <a:pt x="714430" y="1421394"/>
                </a:lnTo>
                <a:lnTo>
                  <a:pt x="712255" y="1359690"/>
                </a:lnTo>
                <a:lnTo>
                  <a:pt x="743557" y="1288979"/>
                </a:lnTo>
                <a:lnTo>
                  <a:pt x="823072" y="1309735"/>
                </a:lnTo>
                <a:lnTo>
                  <a:pt x="979998" y="178052"/>
                </a:lnTo>
                <a:lnTo>
                  <a:pt x="12595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2209653" y="3185512"/>
            <a:ext cx="808471" cy="1043729"/>
          </a:xfrm>
          <a:custGeom>
            <a:avLst/>
            <a:gdLst>
              <a:gd name="connsiteX0" fmla="*/ 132784 w 835937"/>
              <a:gd name="connsiteY0" fmla="*/ 0 h 1059255"/>
              <a:gd name="connsiteX1" fmla="*/ 0 w 835937"/>
              <a:gd name="connsiteY1" fmla="*/ 956649 h 1059255"/>
              <a:gd name="connsiteX2" fmla="*/ 775580 w 835937"/>
              <a:gd name="connsiteY2" fmla="*/ 1059255 h 1059255"/>
              <a:gd name="connsiteX3" fmla="*/ 835937 w 835937"/>
              <a:gd name="connsiteY3" fmla="*/ 286693 h 1059255"/>
              <a:gd name="connsiteX4" fmla="*/ 540190 w 835937"/>
              <a:gd name="connsiteY4" fmla="*/ 250479 h 1059255"/>
              <a:gd name="connsiteX5" fmla="*/ 555279 w 835937"/>
              <a:gd name="connsiteY5" fmla="*/ 69410 h 1059255"/>
              <a:gd name="connsiteX6" fmla="*/ 132784 w 835937"/>
              <a:gd name="connsiteY6" fmla="*/ 0 h 1059255"/>
              <a:gd name="connsiteX0" fmla="*/ 132784 w 835937"/>
              <a:gd name="connsiteY0" fmla="*/ 0 h 1075929"/>
              <a:gd name="connsiteX1" fmla="*/ 0 w 835937"/>
              <a:gd name="connsiteY1" fmla="*/ 956649 h 1075929"/>
              <a:gd name="connsiteX2" fmla="*/ 763683 w 835937"/>
              <a:gd name="connsiteY2" fmla="*/ 1075929 h 1075929"/>
              <a:gd name="connsiteX3" fmla="*/ 835937 w 835937"/>
              <a:gd name="connsiteY3" fmla="*/ 286693 h 1075929"/>
              <a:gd name="connsiteX4" fmla="*/ 540190 w 835937"/>
              <a:gd name="connsiteY4" fmla="*/ 250479 h 1075929"/>
              <a:gd name="connsiteX5" fmla="*/ 555279 w 835937"/>
              <a:gd name="connsiteY5" fmla="*/ 69410 h 1075929"/>
              <a:gd name="connsiteX6" fmla="*/ 132784 w 835937"/>
              <a:gd name="connsiteY6" fmla="*/ 0 h 1075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5937" h="1075929">
                <a:moveTo>
                  <a:pt x="132784" y="0"/>
                </a:moveTo>
                <a:lnTo>
                  <a:pt x="0" y="956649"/>
                </a:lnTo>
                <a:lnTo>
                  <a:pt x="763683" y="1075929"/>
                </a:lnTo>
                <a:lnTo>
                  <a:pt x="835937" y="286693"/>
                </a:lnTo>
                <a:lnTo>
                  <a:pt x="540190" y="250479"/>
                </a:lnTo>
                <a:lnTo>
                  <a:pt x="555279" y="69410"/>
                </a:lnTo>
                <a:lnTo>
                  <a:pt x="132784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1994881" y="4115324"/>
            <a:ext cx="958813" cy="1165342"/>
          </a:xfrm>
          <a:custGeom>
            <a:avLst/>
            <a:gdLst>
              <a:gd name="connsiteX0" fmla="*/ 223319 w 995882"/>
              <a:gd name="connsiteY0" fmla="*/ 0 h 1201093"/>
              <a:gd name="connsiteX1" fmla="*/ 199177 w 995882"/>
              <a:gd name="connsiteY1" fmla="*/ 172016 h 1201093"/>
              <a:gd name="connsiteX2" fmla="*/ 108642 w 995882"/>
              <a:gd name="connsiteY2" fmla="*/ 147873 h 1201093"/>
              <a:gd name="connsiteX3" fmla="*/ 75446 w 995882"/>
              <a:gd name="connsiteY3" fmla="*/ 223319 h 1201093"/>
              <a:gd name="connsiteX4" fmla="*/ 84499 w 995882"/>
              <a:gd name="connsiteY4" fmla="*/ 286693 h 1201093"/>
              <a:gd name="connsiteX5" fmla="*/ 66392 w 995882"/>
              <a:gd name="connsiteY5" fmla="*/ 344032 h 1201093"/>
              <a:gd name="connsiteX6" fmla="*/ 78464 w 995882"/>
              <a:gd name="connsiteY6" fmla="*/ 383264 h 1201093"/>
              <a:gd name="connsiteX7" fmla="*/ 132785 w 995882"/>
              <a:gd name="connsiteY7" fmla="*/ 510012 h 1201093"/>
              <a:gd name="connsiteX8" fmla="*/ 132785 w 995882"/>
              <a:gd name="connsiteY8" fmla="*/ 528119 h 1201093"/>
              <a:gd name="connsiteX9" fmla="*/ 78464 w 995882"/>
              <a:gd name="connsiteY9" fmla="*/ 552262 h 1201093"/>
              <a:gd name="connsiteX10" fmla="*/ 66392 w 995882"/>
              <a:gd name="connsiteY10" fmla="*/ 633743 h 1201093"/>
              <a:gd name="connsiteX11" fmla="*/ 15089 w 995882"/>
              <a:gd name="connsiteY11" fmla="*/ 715224 h 1201093"/>
              <a:gd name="connsiteX12" fmla="*/ 45268 w 995882"/>
              <a:gd name="connsiteY12" fmla="*/ 802741 h 1201093"/>
              <a:gd name="connsiteX13" fmla="*/ 21125 w 995882"/>
              <a:gd name="connsiteY13" fmla="*/ 787652 h 1201093"/>
              <a:gd name="connsiteX14" fmla="*/ 0 w 995882"/>
              <a:gd name="connsiteY14" fmla="*/ 811794 h 1201093"/>
              <a:gd name="connsiteX15" fmla="*/ 0 w 995882"/>
              <a:gd name="connsiteY15" fmla="*/ 838955 h 1201093"/>
              <a:gd name="connsiteX16" fmla="*/ 576404 w 995882"/>
              <a:gd name="connsiteY16" fmla="*/ 1170915 h 1201093"/>
              <a:gd name="connsiteX17" fmla="*/ 908365 w 995882"/>
              <a:gd name="connsiteY17" fmla="*/ 1201093 h 1201093"/>
              <a:gd name="connsiteX18" fmla="*/ 995882 w 995882"/>
              <a:gd name="connsiteY18" fmla="*/ 102606 h 1201093"/>
              <a:gd name="connsiteX19" fmla="*/ 223319 w 995882"/>
              <a:gd name="connsiteY19" fmla="*/ 0 h 1201093"/>
              <a:gd name="connsiteX0" fmla="*/ 223319 w 995882"/>
              <a:gd name="connsiteY0" fmla="*/ 0 h 1201093"/>
              <a:gd name="connsiteX1" fmla="*/ 199177 w 995882"/>
              <a:gd name="connsiteY1" fmla="*/ 172016 h 1201093"/>
              <a:gd name="connsiteX2" fmla="*/ 108642 w 995882"/>
              <a:gd name="connsiteY2" fmla="*/ 147873 h 1201093"/>
              <a:gd name="connsiteX3" fmla="*/ 75446 w 995882"/>
              <a:gd name="connsiteY3" fmla="*/ 223319 h 1201093"/>
              <a:gd name="connsiteX4" fmla="*/ 84499 w 995882"/>
              <a:gd name="connsiteY4" fmla="*/ 286693 h 1201093"/>
              <a:gd name="connsiteX5" fmla="*/ 66392 w 995882"/>
              <a:gd name="connsiteY5" fmla="*/ 344032 h 1201093"/>
              <a:gd name="connsiteX6" fmla="*/ 78464 w 995882"/>
              <a:gd name="connsiteY6" fmla="*/ 383264 h 1201093"/>
              <a:gd name="connsiteX7" fmla="*/ 132785 w 995882"/>
              <a:gd name="connsiteY7" fmla="*/ 510012 h 1201093"/>
              <a:gd name="connsiteX8" fmla="*/ 132785 w 995882"/>
              <a:gd name="connsiteY8" fmla="*/ 528119 h 1201093"/>
              <a:gd name="connsiteX9" fmla="*/ 78464 w 995882"/>
              <a:gd name="connsiteY9" fmla="*/ 552262 h 1201093"/>
              <a:gd name="connsiteX10" fmla="*/ 66392 w 995882"/>
              <a:gd name="connsiteY10" fmla="*/ 633743 h 1201093"/>
              <a:gd name="connsiteX11" fmla="*/ 15089 w 995882"/>
              <a:gd name="connsiteY11" fmla="*/ 715224 h 1201093"/>
              <a:gd name="connsiteX12" fmla="*/ 21125 w 995882"/>
              <a:gd name="connsiteY12" fmla="*/ 787652 h 1201093"/>
              <a:gd name="connsiteX13" fmla="*/ 0 w 995882"/>
              <a:gd name="connsiteY13" fmla="*/ 811794 h 1201093"/>
              <a:gd name="connsiteX14" fmla="*/ 0 w 995882"/>
              <a:gd name="connsiteY14" fmla="*/ 838955 h 1201093"/>
              <a:gd name="connsiteX15" fmla="*/ 576404 w 995882"/>
              <a:gd name="connsiteY15" fmla="*/ 1170915 h 1201093"/>
              <a:gd name="connsiteX16" fmla="*/ 908365 w 995882"/>
              <a:gd name="connsiteY16" fmla="*/ 1201093 h 1201093"/>
              <a:gd name="connsiteX17" fmla="*/ 995882 w 995882"/>
              <a:gd name="connsiteY17" fmla="*/ 102606 h 1201093"/>
              <a:gd name="connsiteX18" fmla="*/ 223319 w 995882"/>
              <a:gd name="connsiteY18" fmla="*/ 0 h 1201093"/>
              <a:gd name="connsiteX0" fmla="*/ 223319 w 991638"/>
              <a:gd name="connsiteY0" fmla="*/ 0 h 1201093"/>
              <a:gd name="connsiteX1" fmla="*/ 199177 w 991638"/>
              <a:gd name="connsiteY1" fmla="*/ 172016 h 1201093"/>
              <a:gd name="connsiteX2" fmla="*/ 108642 w 991638"/>
              <a:gd name="connsiteY2" fmla="*/ 147873 h 1201093"/>
              <a:gd name="connsiteX3" fmla="*/ 75446 w 991638"/>
              <a:gd name="connsiteY3" fmla="*/ 223319 h 1201093"/>
              <a:gd name="connsiteX4" fmla="*/ 84499 w 991638"/>
              <a:gd name="connsiteY4" fmla="*/ 286693 h 1201093"/>
              <a:gd name="connsiteX5" fmla="*/ 66392 w 991638"/>
              <a:gd name="connsiteY5" fmla="*/ 344032 h 1201093"/>
              <a:gd name="connsiteX6" fmla="*/ 78464 w 991638"/>
              <a:gd name="connsiteY6" fmla="*/ 383264 h 1201093"/>
              <a:gd name="connsiteX7" fmla="*/ 132785 w 991638"/>
              <a:gd name="connsiteY7" fmla="*/ 510012 h 1201093"/>
              <a:gd name="connsiteX8" fmla="*/ 132785 w 991638"/>
              <a:gd name="connsiteY8" fmla="*/ 528119 h 1201093"/>
              <a:gd name="connsiteX9" fmla="*/ 78464 w 991638"/>
              <a:gd name="connsiteY9" fmla="*/ 552262 h 1201093"/>
              <a:gd name="connsiteX10" fmla="*/ 66392 w 991638"/>
              <a:gd name="connsiteY10" fmla="*/ 633743 h 1201093"/>
              <a:gd name="connsiteX11" fmla="*/ 15089 w 991638"/>
              <a:gd name="connsiteY11" fmla="*/ 715224 h 1201093"/>
              <a:gd name="connsiteX12" fmla="*/ 21125 w 991638"/>
              <a:gd name="connsiteY12" fmla="*/ 787652 h 1201093"/>
              <a:gd name="connsiteX13" fmla="*/ 0 w 991638"/>
              <a:gd name="connsiteY13" fmla="*/ 811794 h 1201093"/>
              <a:gd name="connsiteX14" fmla="*/ 0 w 991638"/>
              <a:gd name="connsiteY14" fmla="*/ 838955 h 1201093"/>
              <a:gd name="connsiteX15" fmla="*/ 576404 w 991638"/>
              <a:gd name="connsiteY15" fmla="*/ 1170915 h 1201093"/>
              <a:gd name="connsiteX16" fmla="*/ 908365 w 991638"/>
              <a:gd name="connsiteY16" fmla="*/ 1201093 h 1201093"/>
              <a:gd name="connsiteX17" fmla="*/ 991638 w 991638"/>
              <a:gd name="connsiteY17" fmla="*/ 112071 h 1201093"/>
              <a:gd name="connsiteX18" fmla="*/ 223319 w 991638"/>
              <a:gd name="connsiteY18" fmla="*/ 0 h 1201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91638" h="1201093">
                <a:moveTo>
                  <a:pt x="223319" y="0"/>
                </a:moveTo>
                <a:lnTo>
                  <a:pt x="199177" y="172016"/>
                </a:lnTo>
                <a:lnTo>
                  <a:pt x="108642" y="147873"/>
                </a:lnTo>
                <a:lnTo>
                  <a:pt x="75446" y="223319"/>
                </a:lnTo>
                <a:lnTo>
                  <a:pt x="84499" y="286693"/>
                </a:lnTo>
                <a:lnTo>
                  <a:pt x="66392" y="344032"/>
                </a:lnTo>
                <a:lnTo>
                  <a:pt x="78464" y="383264"/>
                </a:lnTo>
                <a:lnTo>
                  <a:pt x="132785" y="510012"/>
                </a:lnTo>
                <a:lnTo>
                  <a:pt x="132785" y="528119"/>
                </a:lnTo>
                <a:lnTo>
                  <a:pt x="78464" y="552262"/>
                </a:lnTo>
                <a:lnTo>
                  <a:pt x="66392" y="633743"/>
                </a:lnTo>
                <a:lnTo>
                  <a:pt x="15089" y="715224"/>
                </a:lnTo>
                <a:lnTo>
                  <a:pt x="21125" y="787652"/>
                </a:lnTo>
                <a:lnTo>
                  <a:pt x="0" y="811794"/>
                </a:lnTo>
                <a:lnTo>
                  <a:pt x="0" y="838955"/>
                </a:lnTo>
                <a:lnTo>
                  <a:pt x="576404" y="1170915"/>
                </a:lnTo>
                <a:lnTo>
                  <a:pt x="908365" y="1201093"/>
                </a:lnTo>
                <a:lnTo>
                  <a:pt x="991638" y="112071"/>
                </a:lnTo>
                <a:lnTo>
                  <a:pt x="223319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2866249" y="4221542"/>
            <a:ext cx="991030" cy="1072978"/>
          </a:xfrm>
          <a:custGeom>
            <a:avLst/>
            <a:gdLst>
              <a:gd name="connsiteX0" fmla="*/ 87517 w 1026059"/>
              <a:gd name="connsiteY0" fmla="*/ 0 h 1107540"/>
              <a:gd name="connsiteX1" fmla="*/ 0 w 1026059"/>
              <a:gd name="connsiteY1" fmla="*/ 1098487 h 1107540"/>
              <a:gd name="connsiteX2" fmla="*/ 165980 w 1026059"/>
              <a:gd name="connsiteY2" fmla="*/ 1107540 h 1107540"/>
              <a:gd name="connsiteX3" fmla="*/ 172016 w 1026059"/>
              <a:gd name="connsiteY3" fmla="*/ 1029077 h 1107540"/>
              <a:gd name="connsiteX4" fmla="*/ 416459 w 1026059"/>
              <a:gd name="connsiteY4" fmla="*/ 1032095 h 1107540"/>
              <a:gd name="connsiteX5" fmla="*/ 425513 w 1026059"/>
              <a:gd name="connsiteY5" fmla="*/ 992863 h 1107540"/>
              <a:gd name="connsiteX6" fmla="*/ 1010970 w 1026059"/>
              <a:gd name="connsiteY6" fmla="*/ 1020023 h 1107540"/>
              <a:gd name="connsiteX7" fmla="*/ 1026059 w 1026059"/>
              <a:gd name="connsiteY7" fmla="*/ 54321 h 1107540"/>
              <a:gd name="connsiteX8" fmla="*/ 377228 w 1026059"/>
              <a:gd name="connsiteY8" fmla="*/ 24142 h 1107540"/>
              <a:gd name="connsiteX9" fmla="*/ 238408 w 1026059"/>
              <a:gd name="connsiteY9" fmla="*/ 9053 h 1107540"/>
              <a:gd name="connsiteX10" fmla="*/ 87517 w 1026059"/>
              <a:gd name="connsiteY10" fmla="*/ 0 h 1107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26059" h="1107540">
                <a:moveTo>
                  <a:pt x="87517" y="0"/>
                </a:moveTo>
                <a:lnTo>
                  <a:pt x="0" y="1098487"/>
                </a:lnTo>
                <a:lnTo>
                  <a:pt x="165980" y="1107540"/>
                </a:lnTo>
                <a:lnTo>
                  <a:pt x="172016" y="1029077"/>
                </a:lnTo>
                <a:lnTo>
                  <a:pt x="416459" y="1032095"/>
                </a:lnTo>
                <a:lnTo>
                  <a:pt x="425513" y="992863"/>
                </a:lnTo>
                <a:lnTo>
                  <a:pt x="1010970" y="1020023"/>
                </a:lnTo>
                <a:lnTo>
                  <a:pt x="1026059" y="54321"/>
                </a:lnTo>
                <a:lnTo>
                  <a:pt x="377228" y="24142"/>
                </a:lnTo>
                <a:lnTo>
                  <a:pt x="238408" y="9053"/>
                </a:lnTo>
                <a:lnTo>
                  <a:pt x="8751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2949090" y="3462609"/>
            <a:ext cx="1060065" cy="814353"/>
          </a:xfrm>
          <a:custGeom>
            <a:avLst/>
            <a:gdLst>
              <a:gd name="connsiteX0" fmla="*/ 54321 w 1083398"/>
              <a:gd name="connsiteY0" fmla="*/ 0 h 838954"/>
              <a:gd name="connsiteX1" fmla="*/ 0 w 1083398"/>
              <a:gd name="connsiteY1" fmla="*/ 778598 h 838954"/>
              <a:gd name="connsiteX2" fmla="*/ 359121 w 1083398"/>
              <a:gd name="connsiteY2" fmla="*/ 811794 h 838954"/>
              <a:gd name="connsiteX3" fmla="*/ 926471 w 1083398"/>
              <a:gd name="connsiteY3" fmla="*/ 838954 h 838954"/>
              <a:gd name="connsiteX4" fmla="*/ 1071327 w 1083398"/>
              <a:gd name="connsiteY4" fmla="*/ 832919 h 838954"/>
              <a:gd name="connsiteX5" fmla="*/ 1083398 w 1083398"/>
              <a:gd name="connsiteY5" fmla="*/ 69410 h 838954"/>
              <a:gd name="connsiteX6" fmla="*/ 639778 w 1083398"/>
              <a:gd name="connsiteY6" fmla="*/ 45267 h 838954"/>
              <a:gd name="connsiteX7" fmla="*/ 416460 w 1083398"/>
              <a:gd name="connsiteY7" fmla="*/ 27160 h 838954"/>
              <a:gd name="connsiteX8" fmla="*/ 54321 w 1083398"/>
              <a:gd name="connsiteY8" fmla="*/ 0 h 838954"/>
              <a:gd name="connsiteX0" fmla="*/ 68618 w 1097695"/>
              <a:gd name="connsiteY0" fmla="*/ 0 h 838954"/>
              <a:gd name="connsiteX1" fmla="*/ 0 w 1097695"/>
              <a:gd name="connsiteY1" fmla="*/ 780977 h 838954"/>
              <a:gd name="connsiteX2" fmla="*/ 373418 w 1097695"/>
              <a:gd name="connsiteY2" fmla="*/ 811794 h 838954"/>
              <a:gd name="connsiteX3" fmla="*/ 940768 w 1097695"/>
              <a:gd name="connsiteY3" fmla="*/ 838954 h 838954"/>
              <a:gd name="connsiteX4" fmla="*/ 1085624 w 1097695"/>
              <a:gd name="connsiteY4" fmla="*/ 832919 h 838954"/>
              <a:gd name="connsiteX5" fmla="*/ 1097695 w 1097695"/>
              <a:gd name="connsiteY5" fmla="*/ 69410 h 838954"/>
              <a:gd name="connsiteX6" fmla="*/ 654075 w 1097695"/>
              <a:gd name="connsiteY6" fmla="*/ 45267 h 838954"/>
              <a:gd name="connsiteX7" fmla="*/ 430757 w 1097695"/>
              <a:gd name="connsiteY7" fmla="*/ 27160 h 838954"/>
              <a:gd name="connsiteX8" fmla="*/ 68618 w 1097695"/>
              <a:gd name="connsiteY8" fmla="*/ 0 h 838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7695" h="838954">
                <a:moveTo>
                  <a:pt x="68618" y="0"/>
                </a:moveTo>
                <a:lnTo>
                  <a:pt x="0" y="780977"/>
                </a:lnTo>
                <a:lnTo>
                  <a:pt x="373418" y="811794"/>
                </a:lnTo>
                <a:lnTo>
                  <a:pt x="940768" y="838954"/>
                </a:lnTo>
                <a:lnTo>
                  <a:pt x="1085624" y="832919"/>
                </a:lnTo>
                <a:lnTo>
                  <a:pt x="1097695" y="69410"/>
                </a:lnTo>
                <a:lnTo>
                  <a:pt x="654075" y="45267"/>
                </a:lnTo>
                <a:lnTo>
                  <a:pt x="430757" y="27160"/>
                </a:lnTo>
                <a:lnTo>
                  <a:pt x="68618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2737384" y="2695976"/>
            <a:ext cx="1012508" cy="825130"/>
          </a:xfrm>
          <a:custGeom>
            <a:avLst/>
            <a:gdLst>
              <a:gd name="connsiteX0" fmla="*/ 81481 w 1047184"/>
              <a:gd name="connsiteY0" fmla="*/ 0 h 851025"/>
              <a:gd name="connsiteX1" fmla="*/ 12071 w 1047184"/>
              <a:gd name="connsiteY1" fmla="*/ 576404 h 851025"/>
              <a:gd name="connsiteX2" fmla="*/ 0 w 1047184"/>
              <a:gd name="connsiteY2" fmla="*/ 751437 h 851025"/>
              <a:gd name="connsiteX3" fmla="*/ 289711 w 1047184"/>
              <a:gd name="connsiteY3" fmla="*/ 796705 h 851025"/>
              <a:gd name="connsiteX4" fmla="*/ 1017006 w 1047184"/>
              <a:gd name="connsiteY4" fmla="*/ 851025 h 851025"/>
              <a:gd name="connsiteX5" fmla="*/ 1047184 w 1047184"/>
              <a:gd name="connsiteY5" fmla="*/ 78463 h 851025"/>
              <a:gd name="connsiteX6" fmla="*/ 81481 w 1047184"/>
              <a:gd name="connsiteY6" fmla="*/ 0 h 85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7184" h="851025">
                <a:moveTo>
                  <a:pt x="81481" y="0"/>
                </a:moveTo>
                <a:lnTo>
                  <a:pt x="12071" y="576404"/>
                </a:lnTo>
                <a:lnTo>
                  <a:pt x="0" y="751437"/>
                </a:lnTo>
                <a:lnTo>
                  <a:pt x="289711" y="796705"/>
                </a:lnTo>
                <a:lnTo>
                  <a:pt x="1017006" y="851025"/>
                </a:lnTo>
                <a:lnTo>
                  <a:pt x="1047184" y="78463"/>
                </a:lnTo>
                <a:lnTo>
                  <a:pt x="81481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2266415" y="1870845"/>
            <a:ext cx="1521829" cy="923653"/>
          </a:xfrm>
          <a:custGeom>
            <a:avLst/>
            <a:gdLst>
              <a:gd name="connsiteX0" fmla="*/ 27160 w 1572285"/>
              <a:gd name="connsiteY0" fmla="*/ 0 h 944578"/>
              <a:gd name="connsiteX1" fmla="*/ 24142 w 1572285"/>
              <a:gd name="connsiteY1" fmla="*/ 63374 h 944578"/>
              <a:gd name="connsiteX2" fmla="*/ 0 w 1572285"/>
              <a:gd name="connsiteY2" fmla="*/ 129766 h 944578"/>
              <a:gd name="connsiteX3" fmla="*/ 12071 w 1572285"/>
              <a:gd name="connsiteY3" fmla="*/ 301782 h 944578"/>
              <a:gd name="connsiteX4" fmla="*/ 69410 w 1572285"/>
              <a:gd name="connsiteY4" fmla="*/ 374210 h 944578"/>
              <a:gd name="connsiteX5" fmla="*/ 93552 w 1572285"/>
              <a:gd name="connsiteY5" fmla="*/ 422495 h 944578"/>
              <a:gd name="connsiteX6" fmla="*/ 132784 w 1572285"/>
              <a:gd name="connsiteY6" fmla="*/ 455691 h 944578"/>
              <a:gd name="connsiteX7" fmla="*/ 162962 w 1572285"/>
              <a:gd name="connsiteY7" fmla="*/ 485869 h 944578"/>
              <a:gd name="connsiteX8" fmla="*/ 135802 w 1572285"/>
              <a:gd name="connsiteY8" fmla="*/ 567350 h 944578"/>
              <a:gd name="connsiteX9" fmla="*/ 144855 w 1572285"/>
              <a:gd name="connsiteY9" fmla="*/ 618653 h 944578"/>
              <a:gd name="connsiteX10" fmla="*/ 111659 w 1572285"/>
              <a:gd name="connsiteY10" fmla="*/ 645814 h 944578"/>
              <a:gd name="connsiteX11" fmla="*/ 117695 w 1572285"/>
              <a:gd name="connsiteY11" fmla="*/ 679010 h 944578"/>
              <a:gd name="connsiteX12" fmla="*/ 190122 w 1572285"/>
              <a:gd name="connsiteY12" fmla="*/ 675992 h 944578"/>
              <a:gd name="connsiteX13" fmla="*/ 208229 w 1572285"/>
              <a:gd name="connsiteY13" fmla="*/ 739366 h 944578"/>
              <a:gd name="connsiteX14" fmla="*/ 214265 w 1572285"/>
              <a:gd name="connsiteY14" fmla="*/ 775580 h 944578"/>
              <a:gd name="connsiteX15" fmla="*/ 235390 w 1572285"/>
              <a:gd name="connsiteY15" fmla="*/ 817830 h 944578"/>
              <a:gd name="connsiteX16" fmla="*/ 235390 w 1572285"/>
              <a:gd name="connsiteY16" fmla="*/ 848008 h 944578"/>
              <a:gd name="connsiteX17" fmla="*/ 307817 w 1572285"/>
              <a:gd name="connsiteY17" fmla="*/ 935525 h 944578"/>
              <a:gd name="connsiteX18" fmla="*/ 404388 w 1572285"/>
              <a:gd name="connsiteY18" fmla="*/ 917418 h 944578"/>
              <a:gd name="connsiteX19" fmla="*/ 422495 w 1572285"/>
              <a:gd name="connsiteY19" fmla="*/ 938542 h 944578"/>
              <a:gd name="connsiteX20" fmla="*/ 506994 w 1572285"/>
              <a:gd name="connsiteY20" fmla="*/ 899311 h 944578"/>
              <a:gd name="connsiteX21" fmla="*/ 546225 w 1572285"/>
              <a:gd name="connsiteY21" fmla="*/ 944578 h 944578"/>
              <a:gd name="connsiteX22" fmla="*/ 564332 w 1572285"/>
              <a:gd name="connsiteY22" fmla="*/ 844990 h 944578"/>
              <a:gd name="connsiteX23" fmla="*/ 1530035 w 1572285"/>
              <a:gd name="connsiteY23" fmla="*/ 935525 h 944578"/>
              <a:gd name="connsiteX24" fmla="*/ 1572285 w 1572285"/>
              <a:gd name="connsiteY24" fmla="*/ 190123 h 944578"/>
              <a:gd name="connsiteX25" fmla="*/ 1189021 w 1572285"/>
              <a:gd name="connsiteY25" fmla="*/ 156927 h 944578"/>
              <a:gd name="connsiteX26" fmla="*/ 1007952 w 1572285"/>
              <a:gd name="connsiteY26" fmla="*/ 141837 h 944578"/>
              <a:gd name="connsiteX27" fmla="*/ 908364 w 1572285"/>
              <a:gd name="connsiteY27" fmla="*/ 138820 h 944578"/>
              <a:gd name="connsiteX28" fmla="*/ 742384 w 1572285"/>
              <a:gd name="connsiteY28" fmla="*/ 111659 h 944578"/>
              <a:gd name="connsiteX29" fmla="*/ 597528 w 1572285"/>
              <a:gd name="connsiteY29" fmla="*/ 93552 h 944578"/>
              <a:gd name="connsiteX30" fmla="*/ 27160 w 1572285"/>
              <a:gd name="connsiteY30" fmla="*/ 0 h 944578"/>
              <a:gd name="connsiteX0" fmla="*/ 27160 w 1572285"/>
              <a:gd name="connsiteY0" fmla="*/ 0 h 944594"/>
              <a:gd name="connsiteX1" fmla="*/ 24142 w 1572285"/>
              <a:gd name="connsiteY1" fmla="*/ 63374 h 944594"/>
              <a:gd name="connsiteX2" fmla="*/ 0 w 1572285"/>
              <a:gd name="connsiteY2" fmla="*/ 129766 h 944594"/>
              <a:gd name="connsiteX3" fmla="*/ 12071 w 1572285"/>
              <a:gd name="connsiteY3" fmla="*/ 301782 h 944594"/>
              <a:gd name="connsiteX4" fmla="*/ 69410 w 1572285"/>
              <a:gd name="connsiteY4" fmla="*/ 374210 h 944594"/>
              <a:gd name="connsiteX5" fmla="*/ 93552 w 1572285"/>
              <a:gd name="connsiteY5" fmla="*/ 422495 h 944594"/>
              <a:gd name="connsiteX6" fmla="*/ 132784 w 1572285"/>
              <a:gd name="connsiteY6" fmla="*/ 455691 h 944594"/>
              <a:gd name="connsiteX7" fmla="*/ 162962 w 1572285"/>
              <a:gd name="connsiteY7" fmla="*/ 485869 h 944594"/>
              <a:gd name="connsiteX8" fmla="*/ 135802 w 1572285"/>
              <a:gd name="connsiteY8" fmla="*/ 567350 h 944594"/>
              <a:gd name="connsiteX9" fmla="*/ 144855 w 1572285"/>
              <a:gd name="connsiteY9" fmla="*/ 618653 h 944594"/>
              <a:gd name="connsiteX10" fmla="*/ 111659 w 1572285"/>
              <a:gd name="connsiteY10" fmla="*/ 645814 h 944594"/>
              <a:gd name="connsiteX11" fmla="*/ 117695 w 1572285"/>
              <a:gd name="connsiteY11" fmla="*/ 679010 h 944594"/>
              <a:gd name="connsiteX12" fmla="*/ 190122 w 1572285"/>
              <a:gd name="connsiteY12" fmla="*/ 675992 h 944594"/>
              <a:gd name="connsiteX13" fmla="*/ 208229 w 1572285"/>
              <a:gd name="connsiteY13" fmla="*/ 739366 h 944594"/>
              <a:gd name="connsiteX14" fmla="*/ 214265 w 1572285"/>
              <a:gd name="connsiteY14" fmla="*/ 775580 h 944594"/>
              <a:gd name="connsiteX15" fmla="*/ 235390 w 1572285"/>
              <a:gd name="connsiteY15" fmla="*/ 817830 h 944594"/>
              <a:gd name="connsiteX16" fmla="*/ 235390 w 1572285"/>
              <a:gd name="connsiteY16" fmla="*/ 848008 h 944594"/>
              <a:gd name="connsiteX17" fmla="*/ 307817 w 1572285"/>
              <a:gd name="connsiteY17" fmla="*/ 935525 h 944594"/>
              <a:gd name="connsiteX18" fmla="*/ 404388 w 1572285"/>
              <a:gd name="connsiteY18" fmla="*/ 917418 h 944594"/>
              <a:gd name="connsiteX19" fmla="*/ 422495 w 1572285"/>
              <a:gd name="connsiteY19" fmla="*/ 938542 h 944594"/>
              <a:gd name="connsiteX20" fmla="*/ 506994 w 1572285"/>
              <a:gd name="connsiteY20" fmla="*/ 899311 h 944594"/>
              <a:gd name="connsiteX21" fmla="*/ 557802 w 1572285"/>
              <a:gd name="connsiteY21" fmla="*/ 944594 h 944594"/>
              <a:gd name="connsiteX22" fmla="*/ 564332 w 1572285"/>
              <a:gd name="connsiteY22" fmla="*/ 844990 h 944594"/>
              <a:gd name="connsiteX23" fmla="*/ 1530035 w 1572285"/>
              <a:gd name="connsiteY23" fmla="*/ 935525 h 944594"/>
              <a:gd name="connsiteX24" fmla="*/ 1572285 w 1572285"/>
              <a:gd name="connsiteY24" fmla="*/ 190123 h 944594"/>
              <a:gd name="connsiteX25" fmla="*/ 1189021 w 1572285"/>
              <a:gd name="connsiteY25" fmla="*/ 156927 h 944594"/>
              <a:gd name="connsiteX26" fmla="*/ 1007952 w 1572285"/>
              <a:gd name="connsiteY26" fmla="*/ 141837 h 944594"/>
              <a:gd name="connsiteX27" fmla="*/ 908364 w 1572285"/>
              <a:gd name="connsiteY27" fmla="*/ 138820 h 944594"/>
              <a:gd name="connsiteX28" fmla="*/ 742384 w 1572285"/>
              <a:gd name="connsiteY28" fmla="*/ 111659 h 944594"/>
              <a:gd name="connsiteX29" fmla="*/ 597528 w 1572285"/>
              <a:gd name="connsiteY29" fmla="*/ 93552 h 944594"/>
              <a:gd name="connsiteX30" fmla="*/ 27160 w 1572285"/>
              <a:gd name="connsiteY30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71625 w 1574500"/>
              <a:gd name="connsiteY4" fmla="*/ 374210 h 944594"/>
              <a:gd name="connsiteX5" fmla="*/ 95767 w 1574500"/>
              <a:gd name="connsiteY5" fmla="*/ 422495 h 944594"/>
              <a:gd name="connsiteX6" fmla="*/ 134999 w 1574500"/>
              <a:gd name="connsiteY6" fmla="*/ 455691 h 944594"/>
              <a:gd name="connsiteX7" fmla="*/ 165177 w 1574500"/>
              <a:gd name="connsiteY7" fmla="*/ 485869 h 944594"/>
              <a:gd name="connsiteX8" fmla="*/ 138017 w 1574500"/>
              <a:gd name="connsiteY8" fmla="*/ 567350 h 944594"/>
              <a:gd name="connsiteX9" fmla="*/ 147070 w 1574500"/>
              <a:gd name="connsiteY9" fmla="*/ 618653 h 944594"/>
              <a:gd name="connsiteX10" fmla="*/ 113874 w 1574500"/>
              <a:gd name="connsiteY10" fmla="*/ 645814 h 944594"/>
              <a:gd name="connsiteX11" fmla="*/ 119910 w 1574500"/>
              <a:gd name="connsiteY11" fmla="*/ 679010 h 944594"/>
              <a:gd name="connsiteX12" fmla="*/ 192337 w 1574500"/>
              <a:gd name="connsiteY12" fmla="*/ 675992 h 944594"/>
              <a:gd name="connsiteX13" fmla="*/ 210444 w 1574500"/>
              <a:gd name="connsiteY13" fmla="*/ 739366 h 944594"/>
              <a:gd name="connsiteX14" fmla="*/ 216480 w 1574500"/>
              <a:gd name="connsiteY14" fmla="*/ 775580 h 944594"/>
              <a:gd name="connsiteX15" fmla="*/ 237605 w 1574500"/>
              <a:gd name="connsiteY15" fmla="*/ 817830 h 944594"/>
              <a:gd name="connsiteX16" fmla="*/ 237605 w 1574500"/>
              <a:gd name="connsiteY16" fmla="*/ 848008 h 944594"/>
              <a:gd name="connsiteX17" fmla="*/ 310032 w 1574500"/>
              <a:gd name="connsiteY17" fmla="*/ 935525 h 944594"/>
              <a:gd name="connsiteX18" fmla="*/ 406603 w 1574500"/>
              <a:gd name="connsiteY18" fmla="*/ 917418 h 944594"/>
              <a:gd name="connsiteX19" fmla="*/ 424710 w 1574500"/>
              <a:gd name="connsiteY19" fmla="*/ 938542 h 944594"/>
              <a:gd name="connsiteX20" fmla="*/ 509209 w 1574500"/>
              <a:gd name="connsiteY20" fmla="*/ 899311 h 944594"/>
              <a:gd name="connsiteX21" fmla="*/ 560017 w 1574500"/>
              <a:gd name="connsiteY21" fmla="*/ 944594 h 944594"/>
              <a:gd name="connsiteX22" fmla="*/ 566547 w 1574500"/>
              <a:gd name="connsiteY22" fmla="*/ 844990 h 944594"/>
              <a:gd name="connsiteX23" fmla="*/ 1532250 w 1574500"/>
              <a:gd name="connsiteY23" fmla="*/ 935525 h 944594"/>
              <a:gd name="connsiteX24" fmla="*/ 1574500 w 1574500"/>
              <a:gd name="connsiteY24" fmla="*/ 190123 h 944594"/>
              <a:gd name="connsiteX25" fmla="*/ 1191236 w 1574500"/>
              <a:gd name="connsiteY25" fmla="*/ 156927 h 944594"/>
              <a:gd name="connsiteX26" fmla="*/ 1010167 w 1574500"/>
              <a:gd name="connsiteY26" fmla="*/ 141837 h 944594"/>
              <a:gd name="connsiteX27" fmla="*/ 910579 w 1574500"/>
              <a:gd name="connsiteY27" fmla="*/ 138820 h 944594"/>
              <a:gd name="connsiteX28" fmla="*/ 744599 w 1574500"/>
              <a:gd name="connsiteY28" fmla="*/ 111659 h 944594"/>
              <a:gd name="connsiteX29" fmla="*/ 599743 w 1574500"/>
              <a:gd name="connsiteY29" fmla="*/ 93552 h 944594"/>
              <a:gd name="connsiteX30" fmla="*/ 29375 w 1574500"/>
              <a:gd name="connsiteY30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95767 w 1574500"/>
              <a:gd name="connsiteY4" fmla="*/ 422495 h 944594"/>
              <a:gd name="connsiteX5" fmla="*/ 134999 w 1574500"/>
              <a:gd name="connsiteY5" fmla="*/ 455691 h 944594"/>
              <a:gd name="connsiteX6" fmla="*/ 165177 w 1574500"/>
              <a:gd name="connsiteY6" fmla="*/ 485869 h 944594"/>
              <a:gd name="connsiteX7" fmla="*/ 138017 w 1574500"/>
              <a:gd name="connsiteY7" fmla="*/ 567350 h 944594"/>
              <a:gd name="connsiteX8" fmla="*/ 147070 w 1574500"/>
              <a:gd name="connsiteY8" fmla="*/ 618653 h 944594"/>
              <a:gd name="connsiteX9" fmla="*/ 113874 w 1574500"/>
              <a:gd name="connsiteY9" fmla="*/ 645814 h 944594"/>
              <a:gd name="connsiteX10" fmla="*/ 119910 w 1574500"/>
              <a:gd name="connsiteY10" fmla="*/ 679010 h 944594"/>
              <a:gd name="connsiteX11" fmla="*/ 192337 w 1574500"/>
              <a:gd name="connsiteY11" fmla="*/ 675992 h 944594"/>
              <a:gd name="connsiteX12" fmla="*/ 210444 w 1574500"/>
              <a:gd name="connsiteY12" fmla="*/ 739366 h 944594"/>
              <a:gd name="connsiteX13" fmla="*/ 216480 w 1574500"/>
              <a:gd name="connsiteY13" fmla="*/ 775580 h 944594"/>
              <a:gd name="connsiteX14" fmla="*/ 237605 w 1574500"/>
              <a:gd name="connsiteY14" fmla="*/ 817830 h 944594"/>
              <a:gd name="connsiteX15" fmla="*/ 237605 w 1574500"/>
              <a:gd name="connsiteY15" fmla="*/ 848008 h 944594"/>
              <a:gd name="connsiteX16" fmla="*/ 310032 w 1574500"/>
              <a:gd name="connsiteY16" fmla="*/ 935525 h 944594"/>
              <a:gd name="connsiteX17" fmla="*/ 406603 w 1574500"/>
              <a:gd name="connsiteY17" fmla="*/ 917418 h 944594"/>
              <a:gd name="connsiteX18" fmla="*/ 424710 w 1574500"/>
              <a:gd name="connsiteY18" fmla="*/ 938542 h 944594"/>
              <a:gd name="connsiteX19" fmla="*/ 509209 w 1574500"/>
              <a:gd name="connsiteY19" fmla="*/ 899311 h 944594"/>
              <a:gd name="connsiteX20" fmla="*/ 560017 w 1574500"/>
              <a:gd name="connsiteY20" fmla="*/ 944594 h 944594"/>
              <a:gd name="connsiteX21" fmla="*/ 566547 w 1574500"/>
              <a:gd name="connsiteY21" fmla="*/ 844990 h 944594"/>
              <a:gd name="connsiteX22" fmla="*/ 1532250 w 1574500"/>
              <a:gd name="connsiteY22" fmla="*/ 935525 h 944594"/>
              <a:gd name="connsiteX23" fmla="*/ 1574500 w 1574500"/>
              <a:gd name="connsiteY23" fmla="*/ 190123 h 944594"/>
              <a:gd name="connsiteX24" fmla="*/ 1191236 w 1574500"/>
              <a:gd name="connsiteY24" fmla="*/ 156927 h 944594"/>
              <a:gd name="connsiteX25" fmla="*/ 1010167 w 1574500"/>
              <a:gd name="connsiteY25" fmla="*/ 141837 h 944594"/>
              <a:gd name="connsiteX26" fmla="*/ 910579 w 1574500"/>
              <a:gd name="connsiteY26" fmla="*/ 138820 h 944594"/>
              <a:gd name="connsiteX27" fmla="*/ 744599 w 1574500"/>
              <a:gd name="connsiteY27" fmla="*/ 111659 h 944594"/>
              <a:gd name="connsiteX28" fmla="*/ 599743 w 1574500"/>
              <a:gd name="connsiteY28" fmla="*/ 93552 h 944594"/>
              <a:gd name="connsiteX29" fmla="*/ 29375 w 1574500"/>
              <a:gd name="connsiteY29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95767 w 1574500"/>
              <a:gd name="connsiteY4" fmla="*/ 422495 h 944594"/>
              <a:gd name="connsiteX5" fmla="*/ 165177 w 1574500"/>
              <a:gd name="connsiteY5" fmla="*/ 485869 h 944594"/>
              <a:gd name="connsiteX6" fmla="*/ 138017 w 1574500"/>
              <a:gd name="connsiteY6" fmla="*/ 567350 h 944594"/>
              <a:gd name="connsiteX7" fmla="*/ 147070 w 1574500"/>
              <a:gd name="connsiteY7" fmla="*/ 61865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37605 w 1574500"/>
              <a:gd name="connsiteY14" fmla="*/ 848008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86191 w 1574500"/>
              <a:gd name="connsiteY4" fmla="*/ 429646 h 944594"/>
              <a:gd name="connsiteX5" fmla="*/ 165177 w 1574500"/>
              <a:gd name="connsiteY5" fmla="*/ 485869 h 944594"/>
              <a:gd name="connsiteX6" fmla="*/ 138017 w 1574500"/>
              <a:gd name="connsiteY6" fmla="*/ 567350 h 944594"/>
              <a:gd name="connsiteX7" fmla="*/ 147070 w 1574500"/>
              <a:gd name="connsiteY7" fmla="*/ 61865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37605 w 1574500"/>
              <a:gd name="connsiteY14" fmla="*/ 848008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86191 w 1574500"/>
              <a:gd name="connsiteY4" fmla="*/ 429646 h 944594"/>
              <a:gd name="connsiteX5" fmla="*/ 148421 w 1574500"/>
              <a:gd name="connsiteY5" fmla="*/ 485877 h 944594"/>
              <a:gd name="connsiteX6" fmla="*/ 138017 w 1574500"/>
              <a:gd name="connsiteY6" fmla="*/ 567350 h 944594"/>
              <a:gd name="connsiteX7" fmla="*/ 147070 w 1574500"/>
              <a:gd name="connsiteY7" fmla="*/ 61865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37605 w 1574500"/>
              <a:gd name="connsiteY14" fmla="*/ 848008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86191 w 1574500"/>
              <a:gd name="connsiteY4" fmla="*/ 429646 h 944594"/>
              <a:gd name="connsiteX5" fmla="*/ 148421 w 1574500"/>
              <a:gd name="connsiteY5" fmla="*/ 485877 h 944594"/>
              <a:gd name="connsiteX6" fmla="*/ 123656 w 1574500"/>
              <a:gd name="connsiteY6" fmla="*/ 567360 h 944594"/>
              <a:gd name="connsiteX7" fmla="*/ 147070 w 1574500"/>
              <a:gd name="connsiteY7" fmla="*/ 61865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37605 w 1574500"/>
              <a:gd name="connsiteY14" fmla="*/ 848008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86191 w 1574500"/>
              <a:gd name="connsiteY4" fmla="*/ 429646 h 944594"/>
              <a:gd name="connsiteX5" fmla="*/ 148421 w 1574500"/>
              <a:gd name="connsiteY5" fmla="*/ 485877 h 944594"/>
              <a:gd name="connsiteX6" fmla="*/ 123656 w 1574500"/>
              <a:gd name="connsiteY6" fmla="*/ 567360 h 944594"/>
              <a:gd name="connsiteX7" fmla="*/ 132705 w 1574500"/>
              <a:gd name="connsiteY7" fmla="*/ 61866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37605 w 1574500"/>
              <a:gd name="connsiteY14" fmla="*/ 848008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44594"/>
              <a:gd name="connsiteX1" fmla="*/ 26357 w 1574500"/>
              <a:gd name="connsiteY1" fmla="*/ 63374 h 944594"/>
              <a:gd name="connsiteX2" fmla="*/ 2215 w 1574500"/>
              <a:gd name="connsiteY2" fmla="*/ 129766 h 944594"/>
              <a:gd name="connsiteX3" fmla="*/ 0 w 1574500"/>
              <a:gd name="connsiteY3" fmla="*/ 308931 h 944594"/>
              <a:gd name="connsiteX4" fmla="*/ 86191 w 1574500"/>
              <a:gd name="connsiteY4" fmla="*/ 429646 h 944594"/>
              <a:gd name="connsiteX5" fmla="*/ 148421 w 1574500"/>
              <a:gd name="connsiteY5" fmla="*/ 485877 h 944594"/>
              <a:gd name="connsiteX6" fmla="*/ 123656 w 1574500"/>
              <a:gd name="connsiteY6" fmla="*/ 567360 h 944594"/>
              <a:gd name="connsiteX7" fmla="*/ 132705 w 1574500"/>
              <a:gd name="connsiteY7" fmla="*/ 618663 h 944594"/>
              <a:gd name="connsiteX8" fmla="*/ 113874 w 1574500"/>
              <a:gd name="connsiteY8" fmla="*/ 645814 h 944594"/>
              <a:gd name="connsiteX9" fmla="*/ 119910 w 1574500"/>
              <a:gd name="connsiteY9" fmla="*/ 679010 h 944594"/>
              <a:gd name="connsiteX10" fmla="*/ 192337 w 1574500"/>
              <a:gd name="connsiteY10" fmla="*/ 675992 h 944594"/>
              <a:gd name="connsiteX11" fmla="*/ 210444 w 1574500"/>
              <a:gd name="connsiteY11" fmla="*/ 739366 h 944594"/>
              <a:gd name="connsiteX12" fmla="*/ 216480 w 1574500"/>
              <a:gd name="connsiteY12" fmla="*/ 775580 h 944594"/>
              <a:gd name="connsiteX13" fmla="*/ 237605 w 1574500"/>
              <a:gd name="connsiteY13" fmla="*/ 817830 h 944594"/>
              <a:gd name="connsiteX14" fmla="*/ 227946 w 1574500"/>
              <a:gd name="connsiteY14" fmla="*/ 874216 h 944594"/>
              <a:gd name="connsiteX15" fmla="*/ 310032 w 1574500"/>
              <a:gd name="connsiteY15" fmla="*/ 935525 h 944594"/>
              <a:gd name="connsiteX16" fmla="*/ 406603 w 1574500"/>
              <a:gd name="connsiteY16" fmla="*/ 917418 h 944594"/>
              <a:gd name="connsiteX17" fmla="*/ 424710 w 1574500"/>
              <a:gd name="connsiteY17" fmla="*/ 938542 h 944594"/>
              <a:gd name="connsiteX18" fmla="*/ 509209 w 1574500"/>
              <a:gd name="connsiteY18" fmla="*/ 899311 h 944594"/>
              <a:gd name="connsiteX19" fmla="*/ 560017 w 1574500"/>
              <a:gd name="connsiteY19" fmla="*/ 944594 h 944594"/>
              <a:gd name="connsiteX20" fmla="*/ 566547 w 1574500"/>
              <a:gd name="connsiteY20" fmla="*/ 844990 h 944594"/>
              <a:gd name="connsiteX21" fmla="*/ 1532250 w 1574500"/>
              <a:gd name="connsiteY21" fmla="*/ 935525 h 944594"/>
              <a:gd name="connsiteX22" fmla="*/ 1574500 w 1574500"/>
              <a:gd name="connsiteY22" fmla="*/ 190123 h 944594"/>
              <a:gd name="connsiteX23" fmla="*/ 1191236 w 1574500"/>
              <a:gd name="connsiteY23" fmla="*/ 156927 h 944594"/>
              <a:gd name="connsiteX24" fmla="*/ 1010167 w 1574500"/>
              <a:gd name="connsiteY24" fmla="*/ 141837 h 944594"/>
              <a:gd name="connsiteX25" fmla="*/ 910579 w 1574500"/>
              <a:gd name="connsiteY25" fmla="*/ 138820 h 944594"/>
              <a:gd name="connsiteX26" fmla="*/ 744599 w 1574500"/>
              <a:gd name="connsiteY26" fmla="*/ 111659 h 944594"/>
              <a:gd name="connsiteX27" fmla="*/ 599743 w 1574500"/>
              <a:gd name="connsiteY27" fmla="*/ 93552 h 944594"/>
              <a:gd name="connsiteX28" fmla="*/ 29375 w 1574500"/>
              <a:gd name="connsiteY28" fmla="*/ 0 h 944594"/>
              <a:gd name="connsiteX0" fmla="*/ 29375 w 1574500"/>
              <a:gd name="connsiteY0" fmla="*/ 0 h 952209"/>
              <a:gd name="connsiteX1" fmla="*/ 26357 w 1574500"/>
              <a:gd name="connsiteY1" fmla="*/ 63374 h 952209"/>
              <a:gd name="connsiteX2" fmla="*/ 2215 w 1574500"/>
              <a:gd name="connsiteY2" fmla="*/ 129766 h 952209"/>
              <a:gd name="connsiteX3" fmla="*/ 0 w 1574500"/>
              <a:gd name="connsiteY3" fmla="*/ 308931 h 952209"/>
              <a:gd name="connsiteX4" fmla="*/ 86191 w 1574500"/>
              <a:gd name="connsiteY4" fmla="*/ 429646 h 952209"/>
              <a:gd name="connsiteX5" fmla="*/ 148421 w 1574500"/>
              <a:gd name="connsiteY5" fmla="*/ 485877 h 952209"/>
              <a:gd name="connsiteX6" fmla="*/ 123656 w 1574500"/>
              <a:gd name="connsiteY6" fmla="*/ 567360 h 952209"/>
              <a:gd name="connsiteX7" fmla="*/ 132705 w 1574500"/>
              <a:gd name="connsiteY7" fmla="*/ 618663 h 952209"/>
              <a:gd name="connsiteX8" fmla="*/ 113874 w 1574500"/>
              <a:gd name="connsiteY8" fmla="*/ 645814 h 952209"/>
              <a:gd name="connsiteX9" fmla="*/ 119910 w 1574500"/>
              <a:gd name="connsiteY9" fmla="*/ 679010 h 952209"/>
              <a:gd name="connsiteX10" fmla="*/ 192337 w 1574500"/>
              <a:gd name="connsiteY10" fmla="*/ 675992 h 952209"/>
              <a:gd name="connsiteX11" fmla="*/ 210444 w 1574500"/>
              <a:gd name="connsiteY11" fmla="*/ 739366 h 952209"/>
              <a:gd name="connsiteX12" fmla="*/ 216480 w 1574500"/>
              <a:gd name="connsiteY12" fmla="*/ 775580 h 952209"/>
              <a:gd name="connsiteX13" fmla="*/ 237605 w 1574500"/>
              <a:gd name="connsiteY13" fmla="*/ 817830 h 952209"/>
              <a:gd name="connsiteX14" fmla="*/ 227946 w 1574500"/>
              <a:gd name="connsiteY14" fmla="*/ 874216 h 952209"/>
              <a:gd name="connsiteX15" fmla="*/ 312230 w 1574500"/>
              <a:gd name="connsiteY15" fmla="*/ 952209 h 952209"/>
              <a:gd name="connsiteX16" fmla="*/ 406603 w 1574500"/>
              <a:gd name="connsiteY16" fmla="*/ 917418 h 952209"/>
              <a:gd name="connsiteX17" fmla="*/ 424710 w 1574500"/>
              <a:gd name="connsiteY17" fmla="*/ 938542 h 952209"/>
              <a:gd name="connsiteX18" fmla="*/ 509209 w 1574500"/>
              <a:gd name="connsiteY18" fmla="*/ 899311 h 952209"/>
              <a:gd name="connsiteX19" fmla="*/ 560017 w 1574500"/>
              <a:gd name="connsiteY19" fmla="*/ 944594 h 952209"/>
              <a:gd name="connsiteX20" fmla="*/ 566547 w 1574500"/>
              <a:gd name="connsiteY20" fmla="*/ 844990 h 952209"/>
              <a:gd name="connsiteX21" fmla="*/ 1532250 w 1574500"/>
              <a:gd name="connsiteY21" fmla="*/ 935525 h 952209"/>
              <a:gd name="connsiteX22" fmla="*/ 1574500 w 1574500"/>
              <a:gd name="connsiteY22" fmla="*/ 190123 h 952209"/>
              <a:gd name="connsiteX23" fmla="*/ 1191236 w 1574500"/>
              <a:gd name="connsiteY23" fmla="*/ 156927 h 952209"/>
              <a:gd name="connsiteX24" fmla="*/ 1010167 w 1574500"/>
              <a:gd name="connsiteY24" fmla="*/ 141837 h 952209"/>
              <a:gd name="connsiteX25" fmla="*/ 910579 w 1574500"/>
              <a:gd name="connsiteY25" fmla="*/ 138820 h 952209"/>
              <a:gd name="connsiteX26" fmla="*/ 744599 w 1574500"/>
              <a:gd name="connsiteY26" fmla="*/ 111659 h 952209"/>
              <a:gd name="connsiteX27" fmla="*/ 599743 w 1574500"/>
              <a:gd name="connsiteY27" fmla="*/ 93552 h 952209"/>
              <a:gd name="connsiteX28" fmla="*/ 29375 w 1574500"/>
              <a:gd name="connsiteY28" fmla="*/ 0 h 952209"/>
              <a:gd name="connsiteX0" fmla="*/ 29375 w 1574500"/>
              <a:gd name="connsiteY0" fmla="*/ 0 h 952845"/>
              <a:gd name="connsiteX1" fmla="*/ 26357 w 1574500"/>
              <a:gd name="connsiteY1" fmla="*/ 63374 h 952845"/>
              <a:gd name="connsiteX2" fmla="*/ 2215 w 1574500"/>
              <a:gd name="connsiteY2" fmla="*/ 129766 h 952845"/>
              <a:gd name="connsiteX3" fmla="*/ 0 w 1574500"/>
              <a:gd name="connsiteY3" fmla="*/ 308931 h 952845"/>
              <a:gd name="connsiteX4" fmla="*/ 86191 w 1574500"/>
              <a:gd name="connsiteY4" fmla="*/ 429646 h 952845"/>
              <a:gd name="connsiteX5" fmla="*/ 148421 w 1574500"/>
              <a:gd name="connsiteY5" fmla="*/ 485877 h 952845"/>
              <a:gd name="connsiteX6" fmla="*/ 123656 w 1574500"/>
              <a:gd name="connsiteY6" fmla="*/ 567360 h 952845"/>
              <a:gd name="connsiteX7" fmla="*/ 132705 w 1574500"/>
              <a:gd name="connsiteY7" fmla="*/ 618663 h 952845"/>
              <a:gd name="connsiteX8" fmla="*/ 113874 w 1574500"/>
              <a:gd name="connsiteY8" fmla="*/ 645814 h 952845"/>
              <a:gd name="connsiteX9" fmla="*/ 119910 w 1574500"/>
              <a:gd name="connsiteY9" fmla="*/ 679010 h 952845"/>
              <a:gd name="connsiteX10" fmla="*/ 192337 w 1574500"/>
              <a:gd name="connsiteY10" fmla="*/ 675992 h 952845"/>
              <a:gd name="connsiteX11" fmla="*/ 210444 w 1574500"/>
              <a:gd name="connsiteY11" fmla="*/ 739366 h 952845"/>
              <a:gd name="connsiteX12" fmla="*/ 216480 w 1574500"/>
              <a:gd name="connsiteY12" fmla="*/ 775580 h 952845"/>
              <a:gd name="connsiteX13" fmla="*/ 237605 w 1574500"/>
              <a:gd name="connsiteY13" fmla="*/ 817830 h 952845"/>
              <a:gd name="connsiteX14" fmla="*/ 227946 w 1574500"/>
              <a:gd name="connsiteY14" fmla="*/ 874216 h 952845"/>
              <a:gd name="connsiteX15" fmla="*/ 312230 w 1574500"/>
              <a:gd name="connsiteY15" fmla="*/ 952209 h 952845"/>
              <a:gd name="connsiteX16" fmla="*/ 406603 w 1574500"/>
              <a:gd name="connsiteY16" fmla="*/ 917418 h 952845"/>
              <a:gd name="connsiteX17" fmla="*/ 455399 w 1574500"/>
              <a:gd name="connsiteY17" fmla="*/ 952845 h 952845"/>
              <a:gd name="connsiteX18" fmla="*/ 509209 w 1574500"/>
              <a:gd name="connsiteY18" fmla="*/ 899311 h 952845"/>
              <a:gd name="connsiteX19" fmla="*/ 560017 w 1574500"/>
              <a:gd name="connsiteY19" fmla="*/ 944594 h 952845"/>
              <a:gd name="connsiteX20" fmla="*/ 566547 w 1574500"/>
              <a:gd name="connsiteY20" fmla="*/ 844990 h 952845"/>
              <a:gd name="connsiteX21" fmla="*/ 1532250 w 1574500"/>
              <a:gd name="connsiteY21" fmla="*/ 935525 h 952845"/>
              <a:gd name="connsiteX22" fmla="*/ 1574500 w 1574500"/>
              <a:gd name="connsiteY22" fmla="*/ 190123 h 952845"/>
              <a:gd name="connsiteX23" fmla="*/ 1191236 w 1574500"/>
              <a:gd name="connsiteY23" fmla="*/ 156927 h 952845"/>
              <a:gd name="connsiteX24" fmla="*/ 1010167 w 1574500"/>
              <a:gd name="connsiteY24" fmla="*/ 141837 h 952845"/>
              <a:gd name="connsiteX25" fmla="*/ 910579 w 1574500"/>
              <a:gd name="connsiteY25" fmla="*/ 138820 h 952845"/>
              <a:gd name="connsiteX26" fmla="*/ 744599 w 1574500"/>
              <a:gd name="connsiteY26" fmla="*/ 111659 h 952845"/>
              <a:gd name="connsiteX27" fmla="*/ 599743 w 1574500"/>
              <a:gd name="connsiteY27" fmla="*/ 93552 h 952845"/>
              <a:gd name="connsiteX28" fmla="*/ 29375 w 1574500"/>
              <a:gd name="connsiteY28" fmla="*/ 0 h 952845"/>
              <a:gd name="connsiteX0" fmla="*/ 29375 w 1574500"/>
              <a:gd name="connsiteY0" fmla="*/ 0 h 952845"/>
              <a:gd name="connsiteX1" fmla="*/ 26357 w 1574500"/>
              <a:gd name="connsiteY1" fmla="*/ 63374 h 952845"/>
              <a:gd name="connsiteX2" fmla="*/ 2215 w 1574500"/>
              <a:gd name="connsiteY2" fmla="*/ 129766 h 952845"/>
              <a:gd name="connsiteX3" fmla="*/ 0 w 1574500"/>
              <a:gd name="connsiteY3" fmla="*/ 308931 h 952845"/>
              <a:gd name="connsiteX4" fmla="*/ 86191 w 1574500"/>
              <a:gd name="connsiteY4" fmla="*/ 429646 h 952845"/>
              <a:gd name="connsiteX5" fmla="*/ 148421 w 1574500"/>
              <a:gd name="connsiteY5" fmla="*/ 485877 h 952845"/>
              <a:gd name="connsiteX6" fmla="*/ 123656 w 1574500"/>
              <a:gd name="connsiteY6" fmla="*/ 567360 h 952845"/>
              <a:gd name="connsiteX7" fmla="*/ 132705 w 1574500"/>
              <a:gd name="connsiteY7" fmla="*/ 618663 h 952845"/>
              <a:gd name="connsiteX8" fmla="*/ 113874 w 1574500"/>
              <a:gd name="connsiteY8" fmla="*/ 645814 h 952845"/>
              <a:gd name="connsiteX9" fmla="*/ 119910 w 1574500"/>
              <a:gd name="connsiteY9" fmla="*/ 679010 h 952845"/>
              <a:gd name="connsiteX10" fmla="*/ 192337 w 1574500"/>
              <a:gd name="connsiteY10" fmla="*/ 675992 h 952845"/>
              <a:gd name="connsiteX11" fmla="*/ 210444 w 1574500"/>
              <a:gd name="connsiteY11" fmla="*/ 739366 h 952845"/>
              <a:gd name="connsiteX12" fmla="*/ 216480 w 1574500"/>
              <a:gd name="connsiteY12" fmla="*/ 775580 h 952845"/>
              <a:gd name="connsiteX13" fmla="*/ 237605 w 1574500"/>
              <a:gd name="connsiteY13" fmla="*/ 817830 h 952845"/>
              <a:gd name="connsiteX14" fmla="*/ 227946 w 1574500"/>
              <a:gd name="connsiteY14" fmla="*/ 874216 h 952845"/>
              <a:gd name="connsiteX15" fmla="*/ 312230 w 1574500"/>
              <a:gd name="connsiteY15" fmla="*/ 952209 h 952845"/>
              <a:gd name="connsiteX16" fmla="*/ 396844 w 1574500"/>
              <a:gd name="connsiteY16" fmla="*/ 938866 h 952845"/>
              <a:gd name="connsiteX17" fmla="*/ 455399 w 1574500"/>
              <a:gd name="connsiteY17" fmla="*/ 952845 h 952845"/>
              <a:gd name="connsiteX18" fmla="*/ 509209 w 1574500"/>
              <a:gd name="connsiteY18" fmla="*/ 899311 h 952845"/>
              <a:gd name="connsiteX19" fmla="*/ 560017 w 1574500"/>
              <a:gd name="connsiteY19" fmla="*/ 944594 h 952845"/>
              <a:gd name="connsiteX20" fmla="*/ 566547 w 1574500"/>
              <a:gd name="connsiteY20" fmla="*/ 844990 h 952845"/>
              <a:gd name="connsiteX21" fmla="*/ 1532250 w 1574500"/>
              <a:gd name="connsiteY21" fmla="*/ 935525 h 952845"/>
              <a:gd name="connsiteX22" fmla="*/ 1574500 w 1574500"/>
              <a:gd name="connsiteY22" fmla="*/ 190123 h 952845"/>
              <a:gd name="connsiteX23" fmla="*/ 1191236 w 1574500"/>
              <a:gd name="connsiteY23" fmla="*/ 156927 h 952845"/>
              <a:gd name="connsiteX24" fmla="*/ 1010167 w 1574500"/>
              <a:gd name="connsiteY24" fmla="*/ 141837 h 952845"/>
              <a:gd name="connsiteX25" fmla="*/ 910579 w 1574500"/>
              <a:gd name="connsiteY25" fmla="*/ 138820 h 952845"/>
              <a:gd name="connsiteX26" fmla="*/ 744599 w 1574500"/>
              <a:gd name="connsiteY26" fmla="*/ 111659 h 952845"/>
              <a:gd name="connsiteX27" fmla="*/ 599743 w 1574500"/>
              <a:gd name="connsiteY27" fmla="*/ 93552 h 952845"/>
              <a:gd name="connsiteX28" fmla="*/ 29375 w 1574500"/>
              <a:gd name="connsiteY28" fmla="*/ 0 h 952845"/>
              <a:gd name="connsiteX0" fmla="*/ 29375 w 1574500"/>
              <a:gd name="connsiteY0" fmla="*/ 0 h 952845"/>
              <a:gd name="connsiteX1" fmla="*/ 26357 w 1574500"/>
              <a:gd name="connsiteY1" fmla="*/ 63374 h 952845"/>
              <a:gd name="connsiteX2" fmla="*/ 2215 w 1574500"/>
              <a:gd name="connsiteY2" fmla="*/ 129766 h 952845"/>
              <a:gd name="connsiteX3" fmla="*/ 0 w 1574500"/>
              <a:gd name="connsiteY3" fmla="*/ 308931 h 952845"/>
              <a:gd name="connsiteX4" fmla="*/ 86191 w 1574500"/>
              <a:gd name="connsiteY4" fmla="*/ 429646 h 952845"/>
              <a:gd name="connsiteX5" fmla="*/ 148421 w 1574500"/>
              <a:gd name="connsiteY5" fmla="*/ 485877 h 952845"/>
              <a:gd name="connsiteX6" fmla="*/ 123656 w 1574500"/>
              <a:gd name="connsiteY6" fmla="*/ 567360 h 952845"/>
              <a:gd name="connsiteX7" fmla="*/ 132705 w 1574500"/>
              <a:gd name="connsiteY7" fmla="*/ 618663 h 952845"/>
              <a:gd name="connsiteX8" fmla="*/ 113874 w 1574500"/>
              <a:gd name="connsiteY8" fmla="*/ 645814 h 952845"/>
              <a:gd name="connsiteX9" fmla="*/ 119910 w 1574500"/>
              <a:gd name="connsiteY9" fmla="*/ 679010 h 952845"/>
              <a:gd name="connsiteX10" fmla="*/ 192337 w 1574500"/>
              <a:gd name="connsiteY10" fmla="*/ 675992 h 952845"/>
              <a:gd name="connsiteX11" fmla="*/ 210444 w 1574500"/>
              <a:gd name="connsiteY11" fmla="*/ 739366 h 952845"/>
              <a:gd name="connsiteX12" fmla="*/ 216480 w 1574500"/>
              <a:gd name="connsiteY12" fmla="*/ 775580 h 952845"/>
              <a:gd name="connsiteX13" fmla="*/ 237605 w 1574500"/>
              <a:gd name="connsiteY13" fmla="*/ 817830 h 952845"/>
              <a:gd name="connsiteX14" fmla="*/ 227946 w 1574500"/>
              <a:gd name="connsiteY14" fmla="*/ 874216 h 952845"/>
              <a:gd name="connsiteX15" fmla="*/ 312230 w 1574500"/>
              <a:gd name="connsiteY15" fmla="*/ 952209 h 952845"/>
              <a:gd name="connsiteX16" fmla="*/ 396844 w 1574500"/>
              <a:gd name="connsiteY16" fmla="*/ 938866 h 952845"/>
              <a:gd name="connsiteX17" fmla="*/ 455399 w 1574500"/>
              <a:gd name="connsiteY17" fmla="*/ 952845 h 952845"/>
              <a:gd name="connsiteX18" fmla="*/ 513669 w 1574500"/>
              <a:gd name="connsiteY18" fmla="*/ 904089 h 952845"/>
              <a:gd name="connsiteX19" fmla="*/ 560017 w 1574500"/>
              <a:gd name="connsiteY19" fmla="*/ 944594 h 952845"/>
              <a:gd name="connsiteX20" fmla="*/ 566547 w 1574500"/>
              <a:gd name="connsiteY20" fmla="*/ 844990 h 952845"/>
              <a:gd name="connsiteX21" fmla="*/ 1532250 w 1574500"/>
              <a:gd name="connsiteY21" fmla="*/ 935525 h 952845"/>
              <a:gd name="connsiteX22" fmla="*/ 1574500 w 1574500"/>
              <a:gd name="connsiteY22" fmla="*/ 190123 h 952845"/>
              <a:gd name="connsiteX23" fmla="*/ 1191236 w 1574500"/>
              <a:gd name="connsiteY23" fmla="*/ 156927 h 952845"/>
              <a:gd name="connsiteX24" fmla="*/ 1010167 w 1574500"/>
              <a:gd name="connsiteY24" fmla="*/ 141837 h 952845"/>
              <a:gd name="connsiteX25" fmla="*/ 910579 w 1574500"/>
              <a:gd name="connsiteY25" fmla="*/ 138820 h 952845"/>
              <a:gd name="connsiteX26" fmla="*/ 744599 w 1574500"/>
              <a:gd name="connsiteY26" fmla="*/ 111659 h 952845"/>
              <a:gd name="connsiteX27" fmla="*/ 599743 w 1574500"/>
              <a:gd name="connsiteY27" fmla="*/ 93552 h 952845"/>
              <a:gd name="connsiteX28" fmla="*/ 29375 w 1574500"/>
              <a:gd name="connsiteY28" fmla="*/ 0 h 95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74500" h="952845">
                <a:moveTo>
                  <a:pt x="29375" y="0"/>
                </a:moveTo>
                <a:lnTo>
                  <a:pt x="26357" y="63374"/>
                </a:lnTo>
                <a:lnTo>
                  <a:pt x="2215" y="129766"/>
                </a:lnTo>
                <a:cubicBezTo>
                  <a:pt x="1477" y="189488"/>
                  <a:pt x="738" y="249209"/>
                  <a:pt x="0" y="308931"/>
                </a:cubicBezTo>
                <a:lnTo>
                  <a:pt x="86191" y="429646"/>
                </a:lnTo>
                <a:lnTo>
                  <a:pt x="148421" y="485877"/>
                </a:lnTo>
                <a:lnTo>
                  <a:pt x="123656" y="567360"/>
                </a:lnTo>
                <a:lnTo>
                  <a:pt x="132705" y="618663"/>
                </a:lnTo>
                <a:lnTo>
                  <a:pt x="113874" y="645814"/>
                </a:lnTo>
                <a:lnTo>
                  <a:pt x="119910" y="679010"/>
                </a:lnTo>
                <a:lnTo>
                  <a:pt x="192337" y="675992"/>
                </a:lnTo>
                <a:lnTo>
                  <a:pt x="210444" y="739366"/>
                </a:lnTo>
                <a:lnTo>
                  <a:pt x="216480" y="775580"/>
                </a:lnTo>
                <a:lnTo>
                  <a:pt x="237605" y="817830"/>
                </a:lnTo>
                <a:lnTo>
                  <a:pt x="227946" y="874216"/>
                </a:lnTo>
                <a:lnTo>
                  <a:pt x="312230" y="952209"/>
                </a:lnTo>
                <a:lnTo>
                  <a:pt x="396844" y="938866"/>
                </a:lnTo>
                <a:lnTo>
                  <a:pt x="455399" y="952845"/>
                </a:lnTo>
                <a:lnTo>
                  <a:pt x="513669" y="904089"/>
                </a:lnTo>
                <a:lnTo>
                  <a:pt x="560017" y="944594"/>
                </a:lnTo>
                <a:lnTo>
                  <a:pt x="566547" y="844990"/>
                </a:lnTo>
                <a:lnTo>
                  <a:pt x="1532250" y="935525"/>
                </a:lnTo>
                <a:lnTo>
                  <a:pt x="1574500" y="190123"/>
                </a:lnTo>
                <a:lnTo>
                  <a:pt x="1191236" y="156927"/>
                </a:lnTo>
                <a:lnTo>
                  <a:pt x="1010167" y="141837"/>
                </a:lnTo>
                <a:lnTo>
                  <a:pt x="910579" y="138820"/>
                </a:lnTo>
                <a:lnTo>
                  <a:pt x="744599" y="111659"/>
                </a:lnTo>
                <a:lnTo>
                  <a:pt x="599743" y="93552"/>
                </a:lnTo>
                <a:lnTo>
                  <a:pt x="2937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759096" y="2032484"/>
            <a:ext cx="968018" cy="578823"/>
          </a:xfrm>
          <a:custGeom>
            <a:avLst/>
            <a:gdLst>
              <a:gd name="connsiteX0" fmla="*/ 27160 w 1001916"/>
              <a:gd name="connsiteY0" fmla="*/ 18107 h 597529"/>
              <a:gd name="connsiteX1" fmla="*/ 0 w 1001916"/>
              <a:gd name="connsiteY1" fmla="*/ 597529 h 597529"/>
              <a:gd name="connsiteX2" fmla="*/ 998899 w 1001916"/>
              <a:gd name="connsiteY2" fmla="*/ 588475 h 597529"/>
              <a:gd name="connsiteX3" fmla="*/ 1001916 w 1001916"/>
              <a:gd name="connsiteY3" fmla="*/ 537172 h 597529"/>
              <a:gd name="connsiteX4" fmla="*/ 974756 w 1001916"/>
              <a:gd name="connsiteY4" fmla="*/ 416459 h 597529"/>
              <a:gd name="connsiteX5" fmla="*/ 971738 w 1001916"/>
              <a:gd name="connsiteY5" fmla="*/ 316871 h 597529"/>
              <a:gd name="connsiteX6" fmla="*/ 932506 w 1001916"/>
              <a:gd name="connsiteY6" fmla="*/ 223319 h 597529"/>
              <a:gd name="connsiteX7" fmla="*/ 905346 w 1001916"/>
              <a:gd name="connsiteY7" fmla="*/ 196158 h 597529"/>
              <a:gd name="connsiteX8" fmla="*/ 911382 w 1001916"/>
              <a:gd name="connsiteY8" fmla="*/ 78463 h 597529"/>
              <a:gd name="connsiteX9" fmla="*/ 878186 w 1001916"/>
              <a:gd name="connsiteY9" fmla="*/ 0 h 597529"/>
              <a:gd name="connsiteX10" fmla="*/ 485869 w 1001916"/>
              <a:gd name="connsiteY10" fmla="*/ 27160 h 597529"/>
              <a:gd name="connsiteX11" fmla="*/ 350067 w 1001916"/>
              <a:gd name="connsiteY11" fmla="*/ 30178 h 597529"/>
              <a:gd name="connsiteX12" fmla="*/ 27160 w 1001916"/>
              <a:gd name="connsiteY12" fmla="*/ 18107 h 597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01916" h="597529">
                <a:moveTo>
                  <a:pt x="27160" y="18107"/>
                </a:moveTo>
                <a:lnTo>
                  <a:pt x="0" y="597529"/>
                </a:lnTo>
                <a:lnTo>
                  <a:pt x="998899" y="588475"/>
                </a:lnTo>
                <a:lnTo>
                  <a:pt x="1001916" y="537172"/>
                </a:lnTo>
                <a:lnTo>
                  <a:pt x="974756" y="416459"/>
                </a:lnTo>
                <a:lnTo>
                  <a:pt x="971738" y="316871"/>
                </a:lnTo>
                <a:lnTo>
                  <a:pt x="932506" y="223319"/>
                </a:lnTo>
                <a:lnTo>
                  <a:pt x="905346" y="196158"/>
                </a:lnTo>
                <a:lnTo>
                  <a:pt x="911382" y="78463"/>
                </a:lnTo>
                <a:lnTo>
                  <a:pt x="878186" y="0"/>
                </a:lnTo>
                <a:lnTo>
                  <a:pt x="485869" y="27160"/>
                </a:lnTo>
                <a:lnTo>
                  <a:pt x="350067" y="30178"/>
                </a:lnTo>
                <a:lnTo>
                  <a:pt x="27160" y="1810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3729948" y="2594375"/>
            <a:ext cx="1061599" cy="631163"/>
          </a:xfrm>
          <a:custGeom>
            <a:avLst/>
            <a:gdLst>
              <a:gd name="connsiteX0" fmla="*/ 36214 w 1095470"/>
              <a:gd name="connsiteY0" fmla="*/ 12071 h 636760"/>
              <a:gd name="connsiteX1" fmla="*/ 0 w 1095470"/>
              <a:gd name="connsiteY1" fmla="*/ 555279 h 636760"/>
              <a:gd name="connsiteX2" fmla="*/ 437584 w 1095470"/>
              <a:gd name="connsiteY2" fmla="*/ 570368 h 636760"/>
              <a:gd name="connsiteX3" fmla="*/ 642796 w 1095470"/>
              <a:gd name="connsiteY3" fmla="*/ 567350 h 636760"/>
              <a:gd name="connsiteX4" fmla="*/ 772563 w 1095470"/>
              <a:gd name="connsiteY4" fmla="*/ 564333 h 636760"/>
              <a:gd name="connsiteX5" fmla="*/ 811794 w 1095470"/>
              <a:gd name="connsiteY5" fmla="*/ 570368 h 636760"/>
              <a:gd name="connsiteX6" fmla="*/ 863097 w 1095470"/>
              <a:gd name="connsiteY6" fmla="*/ 588475 h 636760"/>
              <a:gd name="connsiteX7" fmla="*/ 923454 w 1095470"/>
              <a:gd name="connsiteY7" fmla="*/ 567350 h 636760"/>
              <a:gd name="connsiteX8" fmla="*/ 974757 w 1095470"/>
              <a:gd name="connsiteY8" fmla="*/ 588475 h 636760"/>
              <a:gd name="connsiteX9" fmla="*/ 989846 w 1095470"/>
              <a:gd name="connsiteY9" fmla="*/ 609600 h 636760"/>
              <a:gd name="connsiteX10" fmla="*/ 1035113 w 1095470"/>
              <a:gd name="connsiteY10" fmla="*/ 603564 h 636760"/>
              <a:gd name="connsiteX11" fmla="*/ 1095470 w 1095470"/>
              <a:gd name="connsiteY11" fmla="*/ 636760 h 636760"/>
              <a:gd name="connsiteX12" fmla="*/ 1086416 w 1095470"/>
              <a:gd name="connsiteY12" fmla="*/ 585457 h 636760"/>
              <a:gd name="connsiteX13" fmla="*/ 1095470 w 1095470"/>
              <a:gd name="connsiteY13" fmla="*/ 528119 h 636760"/>
              <a:gd name="connsiteX14" fmla="*/ 1077363 w 1095470"/>
              <a:gd name="connsiteY14" fmla="*/ 461727 h 636760"/>
              <a:gd name="connsiteX15" fmla="*/ 1065291 w 1095470"/>
              <a:gd name="connsiteY15" fmla="*/ 111659 h 636760"/>
              <a:gd name="connsiteX16" fmla="*/ 1020024 w 1095470"/>
              <a:gd name="connsiteY16" fmla="*/ 81481 h 636760"/>
              <a:gd name="connsiteX17" fmla="*/ 1023042 w 1095470"/>
              <a:gd name="connsiteY17" fmla="*/ 45267 h 636760"/>
              <a:gd name="connsiteX18" fmla="*/ 1032095 w 1095470"/>
              <a:gd name="connsiteY18" fmla="*/ 0 h 636760"/>
              <a:gd name="connsiteX19" fmla="*/ 36214 w 1095470"/>
              <a:gd name="connsiteY19" fmla="*/ 12071 h 636760"/>
              <a:gd name="connsiteX0" fmla="*/ 26691 w 1095470"/>
              <a:gd name="connsiteY0" fmla="*/ 4928 h 636760"/>
              <a:gd name="connsiteX1" fmla="*/ 0 w 1095470"/>
              <a:gd name="connsiteY1" fmla="*/ 555279 h 636760"/>
              <a:gd name="connsiteX2" fmla="*/ 437584 w 1095470"/>
              <a:gd name="connsiteY2" fmla="*/ 570368 h 636760"/>
              <a:gd name="connsiteX3" fmla="*/ 642796 w 1095470"/>
              <a:gd name="connsiteY3" fmla="*/ 567350 h 636760"/>
              <a:gd name="connsiteX4" fmla="*/ 772563 w 1095470"/>
              <a:gd name="connsiteY4" fmla="*/ 564333 h 636760"/>
              <a:gd name="connsiteX5" fmla="*/ 811794 w 1095470"/>
              <a:gd name="connsiteY5" fmla="*/ 570368 h 636760"/>
              <a:gd name="connsiteX6" fmla="*/ 863097 w 1095470"/>
              <a:gd name="connsiteY6" fmla="*/ 588475 h 636760"/>
              <a:gd name="connsiteX7" fmla="*/ 923454 w 1095470"/>
              <a:gd name="connsiteY7" fmla="*/ 567350 h 636760"/>
              <a:gd name="connsiteX8" fmla="*/ 974757 w 1095470"/>
              <a:gd name="connsiteY8" fmla="*/ 588475 h 636760"/>
              <a:gd name="connsiteX9" fmla="*/ 989846 w 1095470"/>
              <a:gd name="connsiteY9" fmla="*/ 609600 h 636760"/>
              <a:gd name="connsiteX10" fmla="*/ 1035113 w 1095470"/>
              <a:gd name="connsiteY10" fmla="*/ 603564 h 636760"/>
              <a:gd name="connsiteX11" fmla="*/ 1095470 w 1095470"/>
              <a:gd name="connsiteY11" fmla="*/ 636760 h 636760"/>
              <a:gd name="connsiteX12" fmla="*/ 1086416 w 1095470"/>
              <a:gd name="connsiteY12" fmla="*/ 585457 h 636760"/>
              <a:gd name="connsiteX13" fmla="*/ 1095470 w 1095470"/>
              <a:gd name="connsiteY13" fmla="*/ 528119 h 636760"/>
              <a:gd name="connsiteX14" fmla="*/ 1077363 w 1095470"/>
              <a:gd name="connsiteY14" fmla="*/ 461727 h 636760"/>
              <a:gd name="connsiteX15" fmla="*/ 1065291 w 1095470"/>
              <a:gd name="connsiteY15" fmla="*/ 111659 h 636760"/>
              <a:gd name="connsiteX16" fmla="*/ 1020024 w 1095470"/>
              <a:gd name="connsiteY16" fmla="*/ 81481 h 636760"/>
              <a:gd name="connsiteX17" fmla="*/ 1023042 w 1095470"/>
              <a:gd name="connsiteY17" fmla="*/ 45267 h 636760"/>
              <a:gd name="connsiteX18" fmla="*/ 1032095 w 1095470"/>
              <a:gd name="connsiteY18" fmla="*/ 0 h 636760"/>
              <a:gd name="connsiteX19" fmla="*/ 26691 w 1095470"/>
              <a:gd name="connsiteY19" fmla="*/ 4928 h 636760"/>
              <a:gd name="connsiteX0" fmla="*/ 26691 w 1095470"/>
              <a:gd name="connsiteY0" fmla="*/ 16837 h 648669"/>
              <a:gd name="connsiteX1" fmla="*/ 0 w 1095470"/>
              <a:gd name="connsiteY1" fmla="*/ 567188 h 648669"/>
              <a:gd name="connsiteX2" fmla="*/ 437584 w 1095470"/>
              <a:gd name="connsiteY2" fmla="*/ 582277 h 648669"/>
              <a:gd name="connsiteX3" fmla="*/ 642796 w 1095470"/>
              <a:gd name="connsiteY3" fmla="*/ 579259 h 648669"/>
              <a:gd name="connsiteX4" fmla="*/ 772563 w 1095470"/>
              <a:gd name="connsiteY4" fmla="*/ 576242 h 648669"/>
              <a:gd name="connsiteX5" fmla="*/ 811794 w 1095470"/>
              <a:gd name="connsiteY5" fmla="*/ 582277 h 648669"/>
              <a:gd name="connsiteX6" fmla="*/ 863097 w 1095470"/>
              <a:gd name="connsiteY6" fmla="*/ 600384 h 648669"/>
              <a:gd name="connsiteX7" fmla="*/ 923454 w 1095470"/>
              <a:gd name="connsiteY7" fmla="*/ 579259 h 648669"/>
              <a:gd name="connsiteX8" fmla="*/ 974757 w 1095470"/>
              <a:gd name="connsiteY8" fmla="*/ 600384 h 648669"/>
              <a:gd name="connsiteX9" fmla="*/ 989846 w 1095470"/>
              <a:gd name="connsiteY9" fmla="*/ 621509 h 648669"/>
              <a:gd name="connsiteX10" fmla="*/ 1035113 w 1095470"/>
              <a:gd name="connsiteY10" fmla="*/ 615473 h 648669"/>
              <a:gd name="connsiteX11" fmla="*/ 1095470 w 1095470"/>
              <a:gd name="connsiteY11" fmla="*/ 648669 h 648669"/>
              <a:gd name="connsiteX12" fmla="*/ 1086416 w 1095470"/>
              <a:gd name="connsiteY12" fmla="*/ 597366 h 648669"/>
              <a:gd name="connsiteX13" fmla="*/ 1095470 w 1095470"/>
              <a:gd name="connsiteY13" fmla="*/ 540028 h 648669"/>
              <a:gd name="connsiteX14" fmla="*/ 1077363 w 1095470"/>
              <a:gd name="connsiteY14" fmla="*/ 473636 h 648669"/>
              <a:gd name="connsiteX15" fmla="*/ 1065291 w 1095470"/>
              <a:gd name="connsiteY15" fmla="*/ 123568 h 648669"/>
              <a:gd name="connsiteX16" fmla="*/ 1020024 w 1095470"/>
              <a:gd name="connsiteY16" fmla="*/ 93390 h 648669"/>
              <a:gd name="connsiteX17" fmla="*/ 1023042 w 1095470"/>
              <a:gd name="connsiteY17" fmla="*/ 57176 h 648669"/>
              <a:gd name="connsiteX18" fmla="*/ 1034566 w 1095470"/>
              <a:gd name="connsiteY18" fmla="*/ 0 h 648669"/>
              <a:gd name="connsiteX19" fmla="*/ 26691 w 1095470"/>
              <a:gd name="connsiteY19" fmla="*/ 16837 h 648669"/>
              <a:gd name="connsiteX0" fmla="*/ 26691 w 1095470"/>
              <a:gd name="connsiteY0" fmla="*/ 19220 h 651052"/>
              <a:gd name="connsiteX1" fmla="*/ 0 w 1095470"/>
              <a:gd name="connsiteY1" fmla="*/ 569571 h 651052"/>
              <a:gd name="connsiteX2" fmla="*/ 437584 w 1095470"/>
              <a:gd name="connsiteY2" fmla="*/ 584660 h 651052"/>
              <a:gd name="connsiteX3" fmla="*/ 642796 w 1095470"/>
              <a:gd name="connsiteY3" fmla="*/ 581642 h 651052"/>
              <a:gd name="connsiteX4" fmla="*/ 772563 w 1095470"/>
              <a:gd name="connsiteY4" fmla="*/ 578625 h 651052"/>
              <a:gd name="connsiteX5" fmla="*/ 811794 w 1095470"/>
              <a:gd name="connsiteY5" fmla="*/ 584660 h 651052"/>
              <a:gd name="connsiteX6" fmla="*/ 863097 w 1095470"/>
              <a:gd name="connsiteY6" fmla="*/ 602767 h 651052"/>
              <a:gd name="connsiteX7" fmla="*/ 923454 w 1095470"/>
              <a:gd name="connsiteY7" fmla="*/ 581642 h 651052"/>
              <a:gd name="connsiteX8" fmla="*/ 974757 w 1095470"/>
              <a:gd name="connsiteY8" fmla="*/ 602767 h 651052"/>
              <a:gd name="connsiteX9" fmla="*/ 989846 w 1095470"/>
              <a:gd name="connsiteY9" fmla="*/ 623892 h 651052"/>
              <a:gd name="connsiteX10" fmla="*/ 1035113 w 1095470"/>
              <a:gd name="connsiteY10" fmla="*/ 617856 h 651052"/>
              <a:gd name="connsiteX11" fmla="*/ 1095470 w 1095470"/>
              <a:gd name="connsiteY11" fmla="*/ 651052 h 651052"/>
              <a:gd name="connsiteX12" fmla="*/ 1086416 w 1095470"/>
              <a:gd name="connsiteY12" fmla="*/ 599749 h 651052"/>
              <a:gd name="connsiteX13" fmla="*/ 1095470 w 1095470"/>
              <a:gd name="connsiteY13" fmla="*/ 542411 h 651052"/>
              <a:gd name="connsiteX14" fmla="*/ 1077363 w 1095470"/>
              <a:gd name="connsiteY14" fmla="*/ 476019 h 651052"/>
              <a:gd name="connsiteX15" fmla="*/ 1065291 w 1095470"/>
              <a:gd name="connsiteY15" fmla="*/ 125951 h 651052"/>
              <a:gd name="connsiteX16" fmla="*/ 1020024 w 1095470"/>
              <a:gd name="connsiteY16" fmla="*/ 95773 h 651052"/>
              <a:gd name="connsiteX17" fmla="*/ 1023042 w 1095470"/>
              <a:gd name="connsiteY17" fmla="*/ 59559 h 651052"/>
              <a:gd name="connsiteX18" fmla="*/ 1044182 w 1095470"/>
              <a:gd name="connsiteY18" fmla="*/ 0 h 651052"/>
              <a:gd name="connsiteX19" fmla="*/ 26691 w 1095470"/>
              <a:gd name="connsiteY19" fmla="*/ 19220 h 651052"/>
              <a:gd name="connsiteX0" fmla="*/ 26691 w 1095470"/>
              <a:gd name="connsiteY0" fmla="*/ 19220 h 651052"/>
              <a:gd name="connsiteX1" fmla="*/ 0 w 1095470"/>
              <a:gd name="connsiteY1" fmla="*/ 569571 h 651052"/>
              <a:gd name="connsiteX2" fmla="*/ 437584 w 1095470"/>
              <a:gd name="connsiteY2" fmla="*/ 584660 h 651052"/>
              <a:gd name="connsiteX3" fmla="*/ 642796 w 1095470"/>
              <a:gd name="connsiteY3" fmla="*/ 581642 h 651052"/>
              <a:gd name="connsiteX4" fmla="*/ 772563 w 1095470"/>
              <a:gd name="connsiteY4" fmla="*/ 578625 h 651052"/>
              <a:gd name="connsiteX5" fmla="*/ 811794 w 1095470"/>
              <a:gd name="connsiteY5" fmla="*/ 584660 h 651052"/>
              <a:gd name="connsiteX6" fmla="*/ 863097 w 1095470"/>
              <a:gd name="connsiteY6" fmla="*/ 602767 h 651052"/>
              <a:gd name="connsiteX7" fmla="*/ 923454 w 1095470"/>
              <a:gd name="connsiteY7" fmla="*/ 581642 h 651052"/>
              <a:gd name="connsiteX8" fmla="*/ 974757 w 1095470"/>
              <a:gd name="connsiteY8" fmla="*/ 602767 h 651052"/>
              <a:gd name="connsiteX9" fmla="*/ 989846 w 1095470"/>
              <a:gd name="connsiteY9" fmla="*/ 623892 h 651052"/>
              <a:gd name="connsiteX10" fmla="*/ 1035113 w 1095470"/>
              <a:gd name="connsiteY10" fmla="*/ 617856 h 651052"/>
              <a:gd name="connsiteX11" fmla="*/ 1095470 w 1095470"/>
              <a:gd name="connsiteY11" fmla="*/ 651052 h 651052"/>
              <a:gd name="connsiteX12" fmla="*/ 1086416 w 1095470"/>
              <a:gd name="connsiteY12" fmla="*/ 599749 h 651052"/>
              <a:gd name="connsiteX13" fmla="*/ 1095470 w 1095470"/>
              <a:gd name="connsiteY13" fmla="*/ 542411 h 651052"/>
              <a:gd name="connsiteX14" fmla="*/ 1077363 w 1095470"/>
              <a:gd name="connsiteY14" fmla="*/ 476019 h 651052"/>
              <a:gd name="connsiteX15" fmla="*/ 1065291 w 1095470"/>
              <a:gd name="connsiteY15" fmla="*/ 125951 h 651052"/>
              <a:gd name="connsiteX16" fmla="*/ 1020024 w 1095470"/>
              <a:gd name="connsiteY16" fmla="*/ 95773 h 651052"/>
              <a:gd name="connsiteX17" fmla="*/ 1035038 w 1095470"/>
              <a:gd name="connsiteY17" fmla="*/ 59575 h 651052"/>
              <a:gd name="connsiteX18" fmla="*/ 1044182 w 1095470"/>
              <a:gd name="connsiteY18" fmla="*/ 0 h 651052"/>
              <a:gd name="connsiteX19" fmla="*/ 26691 w 1095470"/>
              <a:gd name="connsiteY19" fmla="*/ 19220 h 651052"/>
              <a:gd name="connsiteX0" fmla="*/ 26691 w 1095470"/>
              <a:gd name="connsiteY0" fmla="*/ 19220 h 651052"/>
              <a:gd name="connsiteX1" fmla="*/ 0 w 1095470"/>
              <a:gd name="connsiteY1" fmla="*/ 569571 h 651052"/>
              <a:gd name="connsiteX2" fmla="*/ 437584 w 1095470"/>
              <a:gd name="connsiteY2" fmla="*/ 584660 h 651052"/>
              <a:gd name="connsiteX3" fmla="*/ 642796 w 1095470"/>
              <a:gd name="connsiteY3" fmla="*/ 581642 h 651052"/>
              <a:gd name="connsiteX4" fmla="*/ 772563 w 1095470"/>
              <a:gd name="connsiteY4" fmla="*/ 578625 h 651052"/>
              <a:gd name="connsiteX5" fmla="*/ 811794 w 1095470"/>
              <a:gd name="connsiteY5" fmla="*/ 584660 h 651052"/>
              <a:gd name="connsiteX6" fmla="*/ 863097 w 1095470"/>
              <a:gd name="connsiteY6" fmla="*/ 602767 h 651052"/>
              <a:gd name="connsiteX7" fmla="*/ 923454 w 1095470"/>
              <a:gd name="connsiteY7" fmla="*/ 581642 h 651052"/>
              <a:gd name="connsiteX8" fmla="*/ 974757 w 1095470"/>
              <a:gd name="connsiteY8" fmla="*/ 602767 h 651052"/>
              <a:gd name="connsiteX9" fmla="*/ 989846 w 1095470"/>
              <a:gd name="connsiteY9" fmla="*/ 623892 h 651052"/>
              <a:gd name="connsiteX10" fmla="*/ 1035113 w 1095470"/>
              <a:gd name="connsiteY10" fmla="*/ 617856 h 651052"/>
              <a:gd name="connsiteX11" fmla="*/ 1095470 w 1095470"/>
              <a:gd name="connsiteY11" fmla="*/ 651052 h 651052"/>
              <a:gd name="connsiteX12" fmla="*/ 1086416 w 1095470"/>
              <a:gd name="connsiteY12" fmla="*/ 599749 h 651052"/>
              <a:gd name="connsiteX13" fmla="*/ 1095470 w 1095470"/>
              <a:gd name="connsiteY13" fmla="*/ 542411 h 651052"/>
              <a:gd name="connsiteX14" fmla="*/ 1077363 w 1095470"/>
              <a:gd name="connsiteY14" fmla="*/ 476019 h 651052"/>
              <a:gd name="connsiteX15" fmla="*/ 1077291 w 1095470"/>
              <a:gd name="connsiteY15" fmla="*/ 125985 h 651052"/>
              <a:gd name="connsiteX16" fmla="*/ 1020024 w 1095470"/>
              <a:gd name="connsiteY16" fmla="*/ 95773 h 651052"/>
              <a:gd name="connsiteX17" fmla="*/ 1035038 w 1095470"/>
              <a:gd name="connsiteY17" fmla="*/ 59575 h 651052"/>
              <a:gd name="connsiteX18" fmla="*/ 1044182 w 1095470"/>
              <a:gd name="connsiteY18" fmla="*/ 0 h 651052"/>
              <a:gd name="connsiteX19" fmla="*/ 26691 w 1095470"/>
              <a:gd name="connsiteY19" fmla="*/ 19220 h 651052"/>
              <a:gd name="connsiteX0" fmla="*/ 26691 w 1098889"/>
              <a:gd name="connsiteY0" fmla="*/ 19220 h 651052"/>
              <a:gd name="connsiteX1" fmla="*/ 0 w 1098889"/>
              <a:gd name="connsiteY1" fmla="*/ 569571 h 651052"/>
              <a:gd name="connsiteX2" fmla="*/ 437584 w 1098889"/>
              <a:gd name="connsiteY2" fmla="*/ 584660 h 651052"/>
              <a:gd name="connsiteX3" fmla="*/ 642796 w 1098889"/>
              <a:gd name="connsiteY3" fmla="*/ 581642 h 651052"/>
              <a:gd name="connsiteX4" fmla="*/ 772563 w 1098889"/>
              <a:gd name="connsiteY4" fmla="*/ 578625 h 651052"/>
              <a:gd name="connsiteX5" fmla="*/ 811794 w 1098889"/>
              <a:gd name="connsiteY5" fmla="*/ 584660 h 651052"/>
              <a:gd name="connsiteX6" fmla="*/ 863097 w 1098889"/>
              <a:gd name="connsiteY6" fmla="*/ 602767 h 651052"/>
              <a:gd name="connsiteX7" fmla="*/ 923454 w 1098889"/>
              <a:gd name="connsiteY7" fmla="*/ 581642 h 651052"/>
              <a:gd name="connsiteX8" fmla="*/ 974757 w 1098889"/>
              <a:gd name="connsiteY8" fmla="*/ 602767 h 651052"/>
              <a:gd name="connsiteX9" fmla="*/ 989846 w 1098889"/>
              <a:gd name="connsiteY9" fmla="*/ 623892 h 651052"/>
              <a:gd name="connsiteX10" fmla="*/ 1035113 w 1098889"/>
              <a:gd name="connsiteY10" fmla="*/ 617856 h 651052"/>
              <a:gd name="connsiteX11" fmla="*/ 1095470 w 1098889"/>
              <a:gd name="connsiteY11" fmla="*/ 651052 h 651052"/>
              <a:gd name="connsiteX12" fmla="*/ 1086416 w 1098889"/>
              <a:gd name="connsiteY12" fmla="*/ 599749 h 651052"/>
              <a:gd name="connsiteX13" fmla="*/ 1095470 w 1098889"/>
              <a:gd name="connsiteY13" fmla="*/ 542411 h 651052"/>
              <a:gd name="connsiteX14" fmla="*/ 1098889 w 1098889"/>
              <a:gd name="connsiteY14" fmla="*/ 476148 h 651052"/>
              <a:gd name="connsiteX15" fmla="*/ 1077291 w 1098889"/>
              <a:gd name="connsiteY15" fmla="*/ 125985 h 651052"/>
              <a:gd name="connsiteX16" fmla="*/ 1020024 w 1098889"/>
              <a:gd name="connsiteY16" fmla="*/ 95773 h 651052"/>
              <a:gd name="connsiteX17" fmla="*/ 1035038 w 1098889"/>
              <a:gd name="connsiteY17" fmla="*/ 59575 h 651052"/>
              <a:gd name="connsiteX18" fmla="*/ 1044182 w 1098889"/>
              <a:gd name="connsiteY18" fmla="*/ 0 h 651052"/>
              <a:gd name="connsiteX19" fmla="*/ 26691 w 1098889"/>
              <a:gd name="connsiteY19" fmla="*/ 19220 h 651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098889" h="651052">
                <a:moveTo>
                  <a:pt x="26691" y="19220"/>
                </a:moveTo>
                <a:lnTo>
                  <a:pt x="0" y="569571"/>
                </a:lnTo>
                <a:lnTo>
                  <a:pt x="437584" y="584660"/>
                </a:lnTo>
                <a:lnTo>
                  <a:pt x="642796" y="581642"/>
                </a:lnTo>
                <a:lnTo>
                  <a:pt x="772563" y="578625"/>
                </a:lnTo>
                <a:lnTo>
                  <a:pt x="811794" y="584660"/>
                </a:lnTo>
                <a:lnTo>
                  <a:pt x="863097" y="602767"/>
                </a:lnTo>
                <a:lnTo>
                  <a:pt x="923454" y="581642"/>
                </a:lnTo>
                <a:lnTo>
                  <a:pt x="974757" y="602767"/>
                </a:lnTo>
                <a:lnTo>
                  <a:pt x="989846" y="623892"/>
                </a:lnTo>
                <a:lnTo>
                  <a:pt x="1035113" y="617856"/>
                </a:lnTo>
                <a:lnTo>
                  <a:pt x="1095470" y="651052"/>
                </a:lnTo>
                <a:lnTo>
                  <a:pt x="1086416" y="599749"/>
                </a:lnTo>
                <a:lnTo>
                  <a:pt x="1095470" y="542411"/>
                </a:lnTo>
                <a:lnTo>
                  <a:pt x="1098889" y="476148"/>
                </a:lnTo>
                <a:lnTo>
                  <a:pt x="1077291" y="125985"/>
                </a:lnTo>
                <a:lnTo>
                  <a:pt x="1020024" y="95773"/>
                </a:lnTo>
                <a:lnTo>
                  <a:pt x="1035038" y="59575"/>
                </a:lnTo>
                <a:lnTo>
                  <a:pt x="1044182" y="0"/>
                </a:lnTo>
                <a:lnTo>
                  <a:pt x="26691" y="1922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717676" y="3143948"/>
            <a:ext cx="1254895" cy="558810"/>
          </a:xfrm>
          <a:custGeom>
            <a:avLst/>
            <a:gdLst>
              <a:gd name="connsiteX0" fmla="*/ 9054 w 1297663"/>
              <a:gd name="connsiteY0" fmla="*/ 0 h 567350"/>
              <a:gd name="connsiteX1" fmla="*/ 0 w 1297663"/>
              <a:gd name="connsiteY1" fmla="*/ 377227 h 567350"/>
              <a:gd name="connsiteX2" fmla="*/ 298764 w 1297663"/>
              <a:gd name="connsiteY2" fmla="*/ 404388 h 567350"/>
              <a:gd name="connsiteX3" fmla="*/ 301782 w 1297663"/>
              <a:gd name="connsiteY3" fmla="*/ 567350 h 567350"/>
              <a:gd name="connsiteX4" fmla="*/ 754455 w 1297663"/>
              <a:gd name="connsiteY4" fmla="*/ 555279 h 567350"/>
              <a:gd name="connsiteX5" fmla="*/ 838955 w 1297663"/>
              <a:gd name="connsiteY5" fmla="*/ 555279 h 567350"/>
              <a:gd name="connsiteX6" fmla="*/ 1219200 w 1297663"/>
              <a:gd name="connsiteY6" fmla="*/ 534154 h 567350"/>
              <a:gd name="connsiteX7" fmla="*/ 1282574 w 1297663"/>
              <a:gd name="connsiteY7" fmla="*/ 534154 h 567350"/>
              <a:gd name="connsiteX8" fmla="*/ 1297663 w 1297663"/>
              <a:gd name="connsiteY8" fmla="*/ 534154 h 567350"/>
              <a:gd name="connsiteX9" fmla="*/ 1249378 w 1297663"/>
              <a:gd name="connsiteY9" fmla="*/ 467762 h 567350"/>
              <a:gd name="connsiteX10" fmla="*/ 1222218 w 1297663"/>
              <a:gd name="connsiteY10" fmla="*/ 413441 h 567350"/>
              <a:gd name="connsiteX11" fmla="*/ 1222218 w 1297663"/>
              <a:gd name="connsiteY11" fmla="*/ 334978 h 567350"/>
              <a:gd name="connsiteX12" fmla="*/ 1201093 w 1297663"/>
              <a:gd name="connsiteY12" fmla="*/ 283675 h 567350"/>
              <a:gd name="connsiteX13" fmla="*/ 1201093 w 1297663"/>
              <a:gd name="connsiteY13" fmla="*/ 256515 h 567350"/>
              <a:gd name="connsiteX14" fmla="*/ 1173933 w 1297663"/>
              <a:gd name="connsiteY14" fmla="*/ 229354 h 567350"/>
              <a:gd name="connsiteX15" fmla="*/ 1170915 w 1297663"/>
              <a:gd name="connsiteY15" fmla="*/ 202194 h 567350"/>
              <a:gd name="connsiteX16" fmla="*/ 1134701 w 1297663"/>
              <a:gd name="connsiteY16" fmla="*/ 147873 h 567350"/>
              <a:gd name="connsiteX17" fmla="*/ 1113576 w 1297663"/>
              <a:gd name="connsiteY17" fmla="*/ 75445 h 567350"/>
              <a:gd name="connsiteX18" fmla="*/ 1056238 w 1297663"/>
              <a:gd name="connsiteY18" fmla="*/ 45267 h 567350"/>
              <a:gd name="connsiteX19" fmla="*/ 1001917 w 1297663"/>
              <a:gd name="connsiteY19" fmla="*/ 48285 h 567350"/>
              <a:gd name="connsiteX20" fmla="*/ 983810 w 1297663"/>
              <a:gd name="connsiteY20" fmla="*/ 27160 h 567350"/>
              <a:gd name="connsiteX21" fmla="*/ 935525 w 1297663"/>
              <a:gd name="connsiteY21" fmla="*/ 9053 h 567350"/>
              <a:gd name="connsiteX22" fmla="*/ 872151 w 1297663"/>
              <a:gd name="connsiteY22" fmla="*/ 33196 h 567350"/>
              <a:gd name="connsiteX23" fmla="*/ 802741 w 1297663"/>
              <a:gd name="connsiteY23" fmla="*/ 0 h 567350"/>
              <a:gd name="connsiteX24" fmla="*/ 9054 w 1297663"/>
              <a:gd name="connsiteY24" fmla="*/ 0 h 567350"/>
              <a:gd name="connsiteX0" fmla="*/ 13813 w 1297663"/>
              <a:gd name="connsiteY0" fmla="*/ 0 h 576885"/>
              <a:gd name="connsiteX1" fmla="*/ 0 w 1297663"/>
              <a:gd name="connsiteY1" fmla="*/ 386762 h 576885"/>
              <a:gd name="connsiteX2" fmla="*/ 298764 w 1297663"/>
              <a:gd name="connsiteY2" fmla="*/ 413923 h 576885"/>
              <a:gd name="connsiteX3" fmla="*/ 301782 w 1297663"/>
              <a:gd name="connsiteY3" fmla="*/ 576885 h 576885"/>
              <a:gd name="connsiteX4" fmla="*/ 754455 w 1297663"/>
              <a:gd name="connsiteY4" fmla="*/ 564814 h 576885"/>
              <a:gd name="connsiteX5" fmla="*/ 838955 w 1297663"/>
              <a:gd name="connsiteY5" fmla="*/ 564814 h 576885"/>
              <a:gd name="connsiteX6" fmla="*/ 1219200 w 1297663"/>
              <a:gd name="connsiteY6" fmla="*/ 543689 h 576885"/>
              <a:gd name="connsiteX7" fmla="*/ 1282574 w 1297663"/>
              <a:gd name="connsiteY7" fmla="*/ 543689 h 576885"/>
              <a:gd name="connsiteX8" fmla="*/ 1297663 w 1297663"/>
              <a:gd name="connsiteY8" fmla="*/ 543689 h 576885"/>
              <a:gd name="connsiteX9" fmla="*/ 1249378 w 1297663"/>
              <a:gd name="connsiteY9" fmla="*/ 477297 h 576885"/>
              <a:gd name="connsiteX10" fmla="*/ 1222218 w 1297663"/>
              <a:gd name="connsiteY10" fmla="*/ 422976 h 576885"/>
              <a:gd name="connsiteX11" fmla="*/ 1222218 w 1297663"/>
              <a:gd name="connsiteY11" fmla="*/ 344513 h 576885"/>
              <a:gd name="connsiteX12" fmla="*/ 1201093 w 1297663"/>
              <a:gd name="connsiteY12" fmla="*/ 293210 h 576885"/>
              <a:gd name="connsiteX13" fmla="*/ 1201093 w 1297663"/>
              <a:gd name="connsiteY13" fmla="*/ 266050 h 576885"/>
              <a:gd name="connsiteX14" fmla="*/ 1173933 w 1297663"/>
              <a:gd name="connsiteY14" fmla="*/ 238889 h 576885"/>
              <a:gd name="connsiteX15" fmla="*/ 1170915 w 1297663"/>
              <a:gd name="connsiteY15" fmla="*/ 211729 h 576885"/>
              <a:gd name="connsiteX16" fmla="*/ 1134701 w 1297663"/>
              <a:gd name="connsiteY16" fmla="*/ 157408 h 576885"/>
              <a:gd name="connsiteX17" fmla="*/ 1113576 w 1297663"/>
              <a:gd name="connsiteY17" fmla="*/ 84980 h 576885"/>
              <a:gd name="connsiteX18" fmla="*/ 1056238 w 1297663"/>
              <a:gd name="connsiteY18" fmla="*/ 54802 h 576885"/>
              <a:gd name="connsiteX19" fmla="*/ 1001917 w 1297663"/>
              <a:gd name="connsiteY19" fmla="*/ 57820 h 576885"/>
              <a:gd name="connsiteX20" fmla="*/ 983810 w 1297663"/>
              <a:gd name="connsiteY20" fmla="*/ 36695 h 576885"/>
              <a:gd name="connsiteX21" fmla="*/ 935525 w 1297663"/>
              <a:gd name="connsiteY21" fmla="*/ 18588 h 576885"/>
              <a:gd name="connsiteX22" fmla="*/ 872151 w 1297663"/>
              <a:gd name="connsiteY22" fmla="*/ 42731 h 576885"/>
              <a:gd name="connsiteX23" fmla="*/ 802741 w 1297663"/>
              <a:gd name="connsiteY23" fmla="*/ 9535 h 576885"/>
              <a:gd name="connsiteX24" fmla="*/ 13813 w 1297663"/>
              <a:gd name="connsiteY24" fmla="*/ 0 h 576885"/>
              <a:gd name="connsiteX0" fmla="*/ 13813 w 1297663"/>
              <a:gd name="connsiteY0" fmla="*/ 0 h 576885"/>
              <a:gd name="connsiteX1" fmla="*/ 0 w 1297663"/>
              <a:gd name="connsiteY1" fmla="*/ 386762 h 576885"/>
              <a:gd name="connsiteX2" fmla="*/ 298764 w 1297663"/>
              <a:gd name="connsiteY2" fmla="*/ 413923 h 576885"/>
              <a:gd name="connsiteX3" fmla="*/ 301782 w 1297663"/>
              <a:gd name="connsiteY3" fmla="*/ 576885 h 576885"/>
              <a:gd name="connsiteX4" fmla="*/ 754455 w 1297663"/>
              <a:gd name="connsiteY4" fmla="*/ 564814 h 576885"/>
              <a:gd name="connsiteX5" fmla="*/ 838955 w 1297663"/>
              <a:gd name="connsiteY5" fmla="*/ 564814 h 576885"/>
              <a:gd name="connsiteX6" fmla="*/ 1219200 w 1297663"/>
              <a:gd name="connsiteY6" fmla="*/ 543689 h 576885"/>
              <a:gd name="connsiteX7" fmla="*/ 1282574 w 1297663"/>
              <a:gd name="connsiteY7" fmla="*/ 543689 h 576885"/>
              <a:gd name="connsiteX8" fmla="*/ 1297663 w 1297663"/>
              <a:gd name="connsiteY8" fmla="*/ 543689 h 576885"/>
              <a:gd name="connsiteX9" fmla="*/ 1249378 w 1297663"/>
              <a:gd name="connsiteY9" fmla="*/ 477297 h 576885"/>
              <a:gd name="connsiteX10" fmla="*/ 1222218 w 1297663"/>
              <a:gd name="connsiteY10" fmla="*/ 422976 h 576885"/>
              <a:gd name="connsiteX11" fmla="*/ 1222218 w 1297663"/>
              <a:gd name="connsiteY11" fmla="*/ 344513 h 576885"/>
              <a:gd name="connsiteX12" fmla="*/ 1201093 w 1297663"/>
              <a:gd name="connsiteY12" fmla="*/ 293210 h 576885"/>
              <a:gd name="connsiteX13" fmla="*/ 1201093 w 1297663"/>
              <a:gd name="connsiteY13" fmla="*/ 266050 h 576885"/>
              <a:gd name="connsiteX14" fmla="*/ 1173933 w 1297663"/>
              <a:gd name="connsiteY14" fmla="*/ 238889 h 576885"/>
              <a:gd name="connsiteX15" fmla="*/ 1170915 w 1297663"/>
              <a:gd name="connsiteY15" fmla="*/ 211729 h 576885"/>
              <a:gd name="connsiteX16" fmla="*/ 1134701 w 1297663"/>
              <a:gd name="connsiteY16" fmla="*/ 157408 h 576885"/>
              <a:gd name="connsiteX17" fmla="*/ 1113576 w 1297663"/>
              <a:gd name="connsiteY17" fmla="*/ 84980 h 576885"/>
              <a:gd name="connsiteX18" fmla="*/ 1056238 w 1297663"/>
              <a:gd name="connsiteY18" fmla="*/ 54802 h 576885"/>
              <a:gd name="connsiteX19" fmla="*/ 1001917 w 1297663"/>
              <a:gd name="connsiteY19" fmla="*/ 57820 h 576885"/>
              <a:gd name="connsiteX20" fmla="*/ 983810 w 1297663"/>
              <a:gd name="connsiteY20" fmla="*/ 36695 h 576885"/>
              <a:gd name="connsiteX21" fmla="*/ 935525 w 1297663"/>
              <a:gd name="connsiteY21" fmla="*/ 18588 h 576885"/>
              <a:gd name="connsiteX22" fmla="*/ 874530 w 1297663"/>
              <a:gd name="connsiteY22" fmla="*/ 30812 h 576885"/>
              <a:gd name="connsiteX23" fmla="*/ 802741 w 1297663"/>
              <a:gd name="connsiteY23" fmla="*/ 9535 h 576885"/>
              <a:gd name="connsiteX24" fmla="*/ 13813 w 1297663"/>
              <a:gd name="connsiteY24" fmla="*/ 0 h 57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297663" h="576885">
                <a:moveTo>
                  <a:pt x="13813" y="0"/>
                </a:moveTo>
                <a:lnTo>
                  <a:pt x="0" y="386762"/>
                </a:lnTo>
                <a:lnTo>
                  <a:pt x="298764" y="413923"/>
                </a:lnTo>
                <a:lnTo>
                  <a:pt x="301782" y="576885"/>
                </a:lnTo>
                <a:lnTo>
                  <a:pt x="754455" y="564814"/>
                </a:lnTo>
                <a:lnTo>
                  <a:pt x="838955" y="564814"/>
                </a:lnTo>
                <a:lnTo>
                  <a:pt x="1219200" y="543689"/>
                </a:lnTo>
                <a:lnTo>
                  <a:pt x="1282574" y="543689"/>
                </a:lnTo>
                <a:lnTo>
                  <a:pt x="1297663" y="543689"/>
                </a:lnTo>
                <a:lnTo>
                  <a:pt x="1249378" y="477297"/>
                </a:lnTo>
                <a:lnTo>
                  <a:pt x="1222218" y="422976"/>
                </a:lnTo>
                <a:lnTo>
                  <a:pt x="1222218" y="344513"/>
                </a:lnTo>
                <a:lnTo>
                  <a:pt x="1201093" y="293210"/>
                </a:lnTo>
                <a:lnTo>
                  <a:pt x="1201093" y="266050"/>
                </a:lnTo>
                <a:lnTo>
                  <a:pt x="1173933" y="238889"/>
                </a:lnTo>
                <a:lnTo>
                  <a:pt x="1170915" y="211729"/>
                </a:lnTo>
                <a:lnTo>
                  <a:pt x="1134701" y="157408"/>
                </a:lnTo>
                <a:lnTo>
                  <a:pt x="1113576" y="84980"/>
                </a:lnTo>
                <a:lnTo>
                  <a:pt x="1056238" y="54802"/>
                </a:lnTo>
                <a:lnTo>
                  <a:pt x="1001917" y="57820"/>
                </a:lnTo>
                <a:lnTo>
                  <a:pt x="983810" y="36695"/>
                </a:lnTo>
                <a:lnTo>
                  <a:pt x="935525" y="18588"/>
                </a:lnTo>
                <a:lnTo>
                  <a:pt x="874530" y="30812"/>
                </a:lnTo>
                <a:lnTo>
                  <a:pt x="802741" y="9535"/>
                </a:lnTo>
                <a:lnTo>
                  <a:pt x="1381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3992281" y="3667349"/>
            <a:ext cx="1130633" cy="609612"/>
          </a:xfrm>
          <a:custGeom>
            <a:avLst/>
            <a:gdLst>
              <a:gd name="connsiteX0" fmla="*/ 15089 w 1170915"/>
              <a:gd name="connsiteY0" fmla="*/ 21125 h 618653"/>
              <a:gd name="connsiteX1" fmla="*/ 0 w 1170915"/>
              <a:gd name="connsiteY1" fmla="*/ 618653 h 618653"/>
              <a:gd name="connsiteX2" fmla="*/ 467763 w 1170915"/>
              <a:gd name="connsiteY2" fmla="*/ 615636 h 618653"/>
              <a:gd name="connsiteX3" fmla="*/ 636761 w 1170915"/>
              <a:gd name="connsiteY3" fmla="*/ 612618 h 618653"/>
              <a:gd name="connsiteX4" fmla="*/ 887240 w 1170915"/>
              <a:gd name="connsiteY4" fmla="*/ 588475 h 618653"/>
              <a:gd name="connsiteX5" fmla="*/ 1170915 w 1170915"/>
              <a:gd name="connsiteY5" fmla="*/ 561315 h 618653"/>
              <a:gd name="connsiteX6" fmla="*/ 1143755 w 1170915"/>
              <a:gd name="connsiteY6" fmla="*/ 168998 h 618653"/>
              <a:gd name="connsiteX7" fmla="*/ 1068309 w 1170915"/>
              <a:gd name="connsiteY7" fmla="*/ 93552 h 618653"/>
              <a:gd name="connsiteX8" fmla="*/ 1080380 w 1170915"/>
              <a:gd name="connsiteY8" fmla="*/ 45267 h 618653"/>
              <a:gd name="connsiteX9" fmla="*/ 1017006 w 1170915"/>
              <a:gd name="connsiteY9" fmla="*/ 0 h 618653"/>
              <a:gd name="connsiteX10" fmla="*/ 15089 w 1170915"/>
              <a:gd name="connsiteY10" fmla="*/ 21125 h 618653"/>
              <a:gd name="connsiteX0" fmla="*/ 15089 w 1170915"/>
              <a:gd name="connsiteY0" fmla="*/ 21125 h 618653"/>
              <a:gd name="connsiteX1" fmla="*/ 0 w 1170915"/>
              <a:gd name="connsiteY1" fmla="*/ 618653 h 618653"/>
              <a:gd name="connsiteX2" fmla="*/ 467763 w 1170915"/>
              <a:gd name="connsiteY2" fmla="*/ 615636 h 618653"/>
              <a:gd name="connsiteX3" fmla="*/ 636761 w 1170915"/>
              <a:gd name="connsiteY3" fmla="*/ 612618 h 618653"/>
              <a:gd name="connsiteX4" fmla="*/ 887240 w 1170915"/>
              <a:gd name="connsiteY4" fmla="*/ 588475 h 618653"/>
              <a:gd name="connsiteX5" fmla="*/ 1170915 w 1170915"/>
              <a:gd name="connsiteY5" fmla="*/ 561315 h 618653"/>
              <a:gd name="connsiteX6" fmla="*/ 1153288 w 1170915"/>
              <a:gd name="connsiteY6" fmla="*/ 168998 h 618653"/>
              <a:gd name="connsiteX7" fmla="*/ 1068309 w 1170915"/>
              <a:gd name="connsiteY7" fmla="*/ 93552 h 618653"/>
              <a:gd name="connsiteX8" fmla="*/ 1080380 w 1170915"/>
              <a:gd name="connsiteY8" fmla="*/ 45267 h 618653"/>
              <a:gd name="connsiteX9" fmla="*/ 1017006 w 1170915"/>
              <a:gd name="connsiteY9" fmla="*/ 0 h 618653"/>
              <a:gd name="connsiteX10" fmla="*/ 15089 w 1170915"/>
              <a:gd name="connsiteY10" fmla="*/ 21125 h 618653"/>
              <a:gd name="connsiteX0" fmla="*/ 15089 w 1170915"/>
              <a:gd name="connsiteY0" fmla="*/ 21125 h 618653"/>
              <a:gd name="connsiteX1" fmla="*/ 0 w 1170915"/>
              <a:gd name="connsiteY1" fmla="*/ 618653 h 618653"/>
              <a:gd name="connsiteX2" fmla="*/ 467763 w 1170915"/>
              <a:gd name="connsiteY2" fmla="*/ 615636 h 618653"/>
              <a:gd name="connsiteX3" fmla="*/ 636761 w 1170915"/>
              <a:gd name="connsiteY3" fmla="*/ 612618 h 618653"/>
              <a:gd name="connsiteX4" fmla="*/ 887240 w 1170915"/>
              <a:gd name="connsiteY4" fmla="*/ 588475 h 618653"/>
              <a:gd name="connsiteX5" fmla="*/ 1170915 w 1170915"/>
              <a:gd name="connsiteY5" fmla="*/ 561315 h 618653"/>
              <a:gd name="connsiteX6" fmla="*/ 1153288 w 1170915"/>
              <a:gd name="connsiteY6" fmla="*/ 168998 h 618653"/>
              <a:gd name="connsiteX7" fmla="*/ 1087505 w 1170915"/>
              <a:gd name="connsiteY7" fmla="*/ 98350 h 618653"/>
              <a:gd name="connsiteX8" fmla="*/ 1068309 w 1170915"/>
              <a:gd name="connsiteY8" fmla="*/ 93552 h 618653"/>
              <a:gd name="connsiteX9" fmla="*/ 1080380 w 1170915"/>
              <a:gd name="connsiteY9" fmla="*/ 45267 h 618653"/>
              <a:gd name="connsiteX10" fmla="*/ 1017006 w 1170915"/>
              <a:gd name="connsiteY10" fmla="*/ 0 h 618653"/>
              <a:gd name="connsiteX11" fmla="*/ 15089 w 1170915"/>
              <a:gd name="connsiteY11" fmla="*/ 21125 h 618653"/>
              <a:gd name="connsiteX0" fmla="*/ 15089 w 1170915"/>
              <a:gd name="connsiteY0" fmla="*/ 30643 h 628171"/>
              <a:gd name="connsiteX1" fmla="*/ 0 w 1170915"/>
              <a:gd name="connsiteY1" fmla="*/ 628171 h 628171"/>
              <a:gd name="connsiteX2" fmla="*/ 467763 w 1170915"/>
              <a:gd name="connsiteY2" fmla="*/ 625154 h 628171"/>
              <a:gd name="connsiteX3" fmla="*/ 636761 w 1170915"/>
              <a:gd name="connsiteY3" fmla="*/ 622136 h 628171"/>
              <a:gd name="connsiteX4" fmla="*/ 887240 w 1170915"/>
              <a:gd name="connsiteY4" fmla="*/ 597993 h 628171"/>
              <a:gd name="connsiteX5" fmla="*/ 1170915 w 1170915"/>
              <a:gd name="connsiteY5" fmla="*/ 570833 h 628171"/>
              <a:gd name="connsiteX6" fmla="*/ 1153288 w 1170915"/>
              <a:gd name="connsiteY6" fmla="*/ 178516 h 628171"/>
              <a:gd name="connsiteX7" fmla="*/ 1087505 w 1170915"/>
              <a:gd name="connsiteY7" fmla="*/ 107868 h 628171"/>
              <a:gd name="connsiteX8" fmla="*/ 1068309 w 1170915"/>
              <a:gd name="connsiteY8" fmla="*/ 103070 h 628171"/>
              <a:gd name="connsiteX9" fmla="*/ 1080380 w 1170915"/>
              <a:gd name="connsiteY9" fmla="*/ 54785 h 628171"/>
              <a:gd name="connsiteX10" fmla="*/ 1021773 w 1170915"/>
              <a:gd name="connsiteY10" fmla="*/ 0 h 628171"/>
              <a:gd name="connsiteX11" fmla="*/ 15089 w 1170915"/>
              <a:gd name="connsiteY11" fmla="*/ 30643 h 628171"/>
              <a:gd name="connsiteX0" fmla="*/ 15089 w 1170915"/>
              <a:gd name="connsiteY0" fmla="*/ 30643 h 628171"/>
              <a:gd name="connsiteX1" fmla="*/ 0 w 1170915"/>
              <a:gd name="connsiteY1" fmla="*/ 628171 h 628171"/>
              <a:gd name="connsiteX2" fmla="*/ 467763 w 1170915"/>
              <a:gd name="connsiteY2" fmla="*/ 625154 h 628171"/>
              <a:gd name="connsiteX3" fmla="*/ 636761 w 1170915"/>
              <a:gd name="connsiteY3" fmla="*/ 622136 h 628171"/>
              <a:gd name="connsiteX4" fmla="*/ 887240 w 1170915"/>
              <a:gd name="connsiteY4" fmla="*/ 597993 h 628171"/>
              <a:gd name="connsiteX5" fmla="*/ 1170915 w 1170915"/>
              <a:gd name="connsiteY5" fmla="*/ 570833 h 628171"/>
              <a:gd name="connsiteX6" fmla="*/ 1153288 w 1170915"/>
              <a:gd name="connsiteY6" fmla="*/ 178516 h 628171"/>
              <a:gd name="connsiteX7" fmla="*/ 1087505 w 1170915"/>
              <a:gd name="connsiteY7" fmla="*/ 107868 h 628171"/>
              <a:gd name="connsiteX8" fmla="*/ 1080380 w 1170915"/>
              <a:gd name="connsiteY8" fmla="*/ 54785 h 628171"/>
              <a:gd name="connsiteX9" fmla="*/ 1021773 w 1170915"/>
              <a:gd name="connsiteY9" fmla="*/ 0 h 628171"/>
              <a:gd name="connsiteX10" fmla="*/ 15089 w 1170915"/>
              <a:gd name="connsiteY10" fmla="*/ 30643 h 628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70915" h="628171">
                <a:moveTo>
                  <a:pt x="15089" y="30643"/>
                </a:moveTo>
                <a:lnTo>
                  <a:pt x="0" y="628171"/>
                </a:lnTo>
                <a:lnTo>
                  <a:pt x="467763" y="625154"/>
                </a:lnTo>
                <a:lnTo>
                  <a:pt x="636761" y="622136"/>
                </a:lnTo>
                <a:lnTo>
                  <a:pt x="887240" y="597993"/>
                </a:lnTo>
                <a:lnTo>
                  <a:pt x="1170915" y="570833"/>
                </a:lnTo>
                <a:lnTo>
                  <a:pt x="1153288" y="178516"/>
                </a:lnTo>
                <a:cubicBezTo>
                  <a:pt x="1128183" y="154967"/>
                  <a:pt x="1112610" y="131417"/>
                  <a:pt x="1087505" y="107868"/>
                </a:cubicBezTo>
                <a:lnTo>
                  <a:pt x="1080380" y="54785"/>
                </a:lnTo>
                <a:lnTo>
                  <a:pt x="1021773" y="0"/>
                </a:lnTo>
                <a:lnTo>
                  <a:pt x="15089" y="3064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3854211" y="4224622"/>
            <a:ext cx="1343874" cy="657333"/>
          </a:xfrm>
          <a:custGeom>
            <a:avLst/>
            <a:gdLst>
              <a:gd name="connsiteX0" fmla="*/ 0 w 1376126"/>
              <a:gd name="connsiteY0" fmla="*/ 51303 h 663920"/>
              <a:gd name="connsiteX1" fmla="*/ 3017 w 1376126"/>
              <a:gd name="connsiteY1" fmla="*/ 147873 h 663920"/>
              <a:gd name="connsiteX2" fmla="*/ 464744 w 1376126"/>
              <a:gd name="connsiteY2" fmla="*/ 156926 h 663920"/>
              <a:gd name="connsiteX3" fmla="*/ 461726 w 1376126"/>
              <a:gd name="connsiteY3" fmla="*/ 513029 h 663920"/>
              <a:gd name="connsiteX4" fmla="*/ 482851 w 1376126"/>
              <a:gd name="connsiteY4" fmla="*/ 525101 h 663920"/>
              <a:gd name="connsiteX5" fmla="*/ 525101 w 1376126"/>
              <a:gd name="connsiteY5" fmla="*/ 528118 h 663920"/>
              <a:gd name="connsiteX6" fmla="*/ 549243 w 1376126"/>
              <a:gd name="connsiteY6" fmla="*/ 534154 h 663920"/>
              <a:gd name="connsiteX7" fmla="*/ 564332 w 1376126"/>
              <a:gd name="connsiteY7" fmla="*/ 546225 h 663920"/>
              <a:gd name="connsiteX8" fmla="*/ 609600 w 1376126"/>
              <a:gd name="connsiteY8" fmla="*/ 540190 h 663920"/>
              <a:gd name="connsiteX9" fmla="*/ 633742 w 1376126"/>
              <a:gd name="connsiteY9" fmla="*/ 585457 h 663920"/>
              <a:gd name="connsiteX10" fmla="*/ 663920 w 1376126"/>
              <a:gd name="connsiteY10" fmla="*/ 579421 h 663920"/>
              <a:gd name="connsiteX11" fmla="*/ 691081 w 1376126"/>
              <a:gd name="connsiteY11" fmla="*/ 597528 h 663920"/>
              <a:gd name="connsiteX12" fmla="*/ 757473 w 1376126"/>
              <a:gd name="connsiteY12" fmla="*/ 585457 h 663920"/>
              <a:gd name="connsiteX13" fmla="*/ 841972 w 1376126"/>
              <a:gd name="connsiteY13" fmla="*/ 630724 h 663920"/>
              <a:gd name="connsiteX14" fmla="*/ 884221 w 1376126"/>
              <a:gd name="connsiteY14" fmla="*/ 615635 h 663920"/>
              <a:gd name="connsiteX15" fmla="*/ 920435 w 1376126"/>
              <a:gd name="connsiteY15" fmla="*/ 642796 h 663920"/>
              <a:gd name="connsiteX16" fmla="*/ 962685 w 1376126"/>
              <a:gd name="connsiteY16" fmla="*/ 636760 h 663920"/>
              <a:gd name="connsiteX17" fmla="*/ 1001917 w 1376126"/>
              <a:gd name="connsiteY17" fmla="*/ 648831 h 663920"/>
              <a:gd name="connsiteX18" fmla="*/ 1038130 w 1376126"/>
              <a:gd name="connsiteY18" fmla="*/ 645813 h 663920"/>
              <a:gd name="connsiteX19" fmla="*/ 1074344 w 1376126"/>
              <a:gd name="connsiteY19" fmla="*/ 663920 h 663920"/>
              <a:gd name="connsiteX20" fmla="*/ 1095469 w 1376126"/>
              <a:gd name="connsiteY20" fmla="*/ 660903 h 663920"/>
              <a:gd name="connsiteX21" fmla="*/ 1146772 w 1376126"/>
              <a:gd name="connsiteY21" fmla="*/ 624689 h 663920"/>
              <a:gd name="connsiteX22" fmla="*/ 1186004 w 1376126"/>
              <a:gd name="connsiteY22" fmla="*/ 615635 h 663920"/>
              <a:gd name="connsiteX23" fmla="*/ 1237307 w 1376126"/>
              <a:gd name="connsiteY23" fmla="*/ 621671 h 663920"/>
              <a:gd name="connsiteX24" fmla="*/ 1270503 w 1376126"/>
              <a:gd name="connsiteY24" fmla="*/ 609600 h 663920"/>
              <a:gd name="connsiteX25" fmla="*/ 1376126 w 1376126"/>
              <a:gd name="connsiteY25" fmla="*/ 657885 h 663920"/>
              <a:gd name="connsiteX26" fmla="*/ 1370091 w 1376126"/>
              <a:gd name="connsiteY26" fmla="*/ 353085 h 663920"/>
              <a:gd name="connsiteX27" fmla="*/ 1345948 w 1376126"/>
              <a:gd name="connsiteY27" fmla="*/ 196158 h 663920"/>
              <a:gd name="connsiteX28" fmla="*/ 1333877 w 1376126"/>
              <a:gd name="connsiteY28" fmla="*/ 90534 h 663920"/>
              <a:gd name="connsiteX29" fmla="*/ 1312752 w 1376126"/>
              <a:gd name="connsiteY29" fmla="*/ 0 h 663920"/>
              <a:gd name="connsiteX30" fmla="*/ 742384 w 1376126"/>
              <a:gd name="connsiteY30" fmla="*/ 45267 h 663920"/>
              <a:gd name="connsiteX31" fmla="*/ 0 w 1376126"/>
              <a:gd name="connsiteY31" fmla="*/ 51303 h 663920"/>
              <a:gd name="connsiteX0" fmla="*/ 0 w 1376126"/>
              <a:gd name="connsiteY0" fmla="*/ 51303 h 663920"/>
              <a:gd name="connsiteX1" fmla="*/ 3017 w 1376126"/>
              <a:gd name="connsiteY1" fmla="*/ 147873 h 663920"/>
              <a:gd name="connsiteX2" fmla="*/ 464744 w 1376126"/>
              <a:gd name="connsiteY2" fmla="*/ 156926 h 663920"/>
              <a:gd name="connsiteX3" fmla="*/ 461726 w 1376126"/>
              <a:gd name="connsiteY3" fmla="*/ 513029 h 663920"/>
              <a:gd name="connsiteX4" fmla="*/ 482851 w 1376126"/>
              <a:gd name="connsiteY4" fmla="*/ 525101 h 663920"/>
              <a:gd name="connsiteX5" fmla="*/ 525101 w 1376126"/>
              <a:gd name="connsiteY5" fmla="*/ 528118 h 663920"/>
              <a:gd name="connsiteX6" fmla="*/ 549243 w 1376126"/>
              <a:gd name="connsiteY6" fmla="*/ 534154 h 663920"/>
              <a:gd name="connsiteX7" fmla="*/ 564332 w 1376126"/>
              <a:gd name="connsiteY7" fmla="*/ 546225 h 663920"/>
              <a:gd name="connsiteX8" fmla="*/ 607114 w 1376126"/>
              <a:gd name="connsiteY8" fmla="*/ 550001 h 663920"/>
              <a:gd name="connsiteX9" fmla="*/ 633742 w 1376126"/>
              <a:gd name="connsiteY9" fmla="*/ 585457 h 663920"/>
              <a:gd name="connsiteX10" fmla="*/ 663920 w 1376126"/>
              <a:gd name="connsiteY10" fmla="*/ 579421 h 663920"/>
              <a:gd name="connsiteX11" fmla="*/ 691081 w 1376126"/>
              <a:gd name="connsiteY11" fmla="*/ 597528 h 663920"/>
              <a:gd name="connsiteX12" fmla="*/ 757473 w 1376126"/>
              <a:gd name="connsiteY12" fmla="*/ 585457 h 663920"/>
              <a:gd name="connsiteX13" fmla="*/ 841972 w 1376126"/>
              <a:gd name="connsiteY13" fmla="*/ 630724 h 663920"/>
              <a:gd name="connsiteX14" fmla="*/ 884221 w 1376126"/>
              <a:gd name="connsiteY14" fmla="*/ 615635 h 663920"/>
              <a:gd name="connsiteX15" fmla="*/ 920435 w 1376126"/>
              <a:gd name="connsiteY15" fmla="*/ 642796 h 663920"/>
              <a:gd name="connsiteX16" fmla="*/ 962685 w 1376126"/>
              <a:gd name="connsiteY16" fmla="*/ 636760 h 663920"/>
              <a:gd name="connsiteX17" fmla="*/ 1001917 w 1376126"/>
              <a:gd name="connsiteY17" fmla="*/ 648831 h 663920"/>
              <a:gd name="connsiteX18" fmla="*/ 1038130 w 1376126"/>
              <a:gd name="connsiteY18" fmla="*/ 645813 h 663920"/>
              <a:gd name="connsiteX19" fmla="*/ 1074344 w 1376126"/>
              <a:gd name="connsiteY19" fmla="*/ 663920 h 663920"/>
              <a:gd name="connsiteX20" fmla="*/ 1095469 w 1376126"/>
              <a:gd name="connsiteY20" fmla="*/ 660903 h 663920"/>
              <a:gd name="connsiteX21" fmla="*/ 1146772 w 1376126"/>
              <a:gd name="connsiteY21" fmla="*/ 624689 h 663920"/>
              <a:gd name="connsiteX22" fmla="*/ 1186004 w 1376126"/>
              <a:gd name="connsiteY22" fmla="*/ 615635 h 663920"/>
              <a:gd name="connsiteX23" fmla="*/ 1237307 w 1376126"/>
              <a:gd name="connsiteY23" fmla="*/ 621671 h 663920"/>
              <a:gd name="connsiteX24" fmla="*/ 1270503 w 1376126"/>
              <a:gd name="connsiteY24" fmla="*/ 609600 h 663920"/>
              <a:gd name="connsiteX25" fmla="*/ 1376126 w 1376126"/>
              <a:gd name="connsiteY25" fmla="*/ 657885 h 663920"/>
              <a:gd name="connsiteX26" fmla="*/ 1370091 w 1376126"/>
              <a:gd name="connsiteY26" fmla="*/ 353085 h 663920"/>
              <a:gd name="connsiteX27" fmla="*/ 1345948 w 1376126"/>
              <a:gd name="connsiteY27" fmla="*/ 196158 h 663920"/>
              <a:gd name="connsiteX28" fmla="*/ 1333877 w 1376126"/>
              <a:gd name="connsiteY28" fmla="*/ 90534 h 663920"/>
              <a:gd name="connsiteX29" fmla="*/ 1312752 w 1376126"/>
              <a:gd name="connsiteY29" fmla="*/ 0 h 663920"/>
              <a:gd name="connsiteX30" fmla="*/ 742384 w 1376126"/>
              <a:gd name="connsiteY30" fmla="*/ 45267 h 663920"/>
              <a:gd name="connsiteX31" fmla="*/ 0 w 1376126"/>
              <a:gd name="connsiteY31" fmla="*/ 51303 h 663920"/>
              <a:gd name="connsiteX0" fmla="*/ 0 w 1376126"/>
              <a:gd name="connsiteY0" fmla="*/ 51303 h 663920"/>
              <a:gd name="connsiteX1" fmla="*/ 3017 w 1376126"/>
              <a:gd name="connsiteY1" fmla="*/ 147873 h 663920"/>
              <a:gd name="connsiteX2" fmla="*/ 464744 w 1376126"/>
              <a:gd name="connsiteY2" fmla="*/ 156926 h 663920"/>
              <a:gd name="connsiteX3" fmla="*/ 461726 w 1376126"/>
              <a:gd name="connsiteY3" fmla="*/ 513029 h 663920"/>
              <a:gd name="connsiteX4" fmla="*/ 482851 w 1376126"/>
              <a:gd name="connsiteY4" fmla="*/ 525101 h 663920"/>
              <a:gd name="connsiteX5" fmla="*/ 525101 w 1376126"/>
              <a:gd name="connsiteY5" fmla="*/ 528118 h 663920"/>
              <a:gd name="connsiteX6" fmla="*/ 549243 w 1376126"/>
              <a:gd name="connsiteY6" fmla="*/ 534154 h 663920"/>
              <a:gd name="connsiteX7" fmla="*/ 564332 w 1376126"/>
              <a:gd name="connsiteY7" fmla="*/ 546225 h 663920"/>
              <a:gd name="connsiteX8" fmla="*/ 607114 w 1376126"/>
              <a:gd name="connsiteY8" fmla="*/ 550001 h 663920"/>
              <a:gd name="connsiteX9" fmla="*/ 633742 w 1376126"/>
              <a:gd name="connsiteY9" fmla="*/ 585457 h 663920"/>
              <a:gd name="connsiteX10" fmla="*/ 666187 w 1376126"/>
              <a:gd name="connsiteY10" fmla="*/ 589252 h 663920"/>
              <a:gd name="connsiteX11" fmla="*/ 691081 w 1376126"/>
              <a:gd name="connsiteY11" fmla="*/ 597528 h 663920"/>
              <a:gd name="connsiteX12" fmla="*/ 757473 w 1376126"/>
              <a:gd name="connsiteY12" fmla="*/ 585457 h 663920"/>
              <a:gd name="connsiteX13" fmla="*/ 841972 w 1376126"/>
              <a:gd name="connsiteY13" fmla="*/ 630724 h 663920"/>
              <a:gd name="connsiteX14" fmla="*/ 884221 w 1376126"/>
              <a:gd name="connsiteY14" fmla="*/ 615635 h 663920"/>
              <a:gd name="connsiteX15" fmla="*/ 920435 w 1376126"/>
              <a:gd name="connsiteY15" fmla="*/ 642796 h 663920"/>
              <a:gd name="connsiteX16" fmla="*/ 962685 w 1376126"/>
              <a:gd name="connsiteY16" fmla="*/ 636760 h 663920"/>
              <a:gd name="connsiteX17" fmla="*/ 1001917 w 1376126"/>
              <a:gd name="connsiteY17" fmla="*/ 648831 h 663920"/>
              <a:gd name="connsiteX18" fmla="*/ 1038130 w 1376126"/>
              <a:gd name="connsiteY18" fmla="*/ 645813 h 663920"/>
              <a:gd name="connsiteX19" fmla="*/ 1074344 w 1376126"/>
              <a:gd name="connsiteY19" fmla="*/ 663920 h 663920"/>
              <a:gd name="connsiteX20" fmla="*/ 1095469 w 1376126"/>
              <a:gd name="connsiteY20" fmla="*/ 660903 h 663920"/>
              <a:gd name="connsiteX21" fmla="*/ 1146772 w 1376126"/>
              <a:gd name="connsiteY21" fmla="*/ 624689 h 663920"/>
              <a:gd name="connsiteX22" fmla="*/ 1186004 w 1376126"/>
              <a:gd name="connsiteY22" fmla="*/ 615635 h 663920"/>
              <a:gd name="connsiteX23" fmla="*/ 1237307 w 1376126"/>
              <a:gd name="connsiteY23" fmla="*/ 621671 h 663920"/>
              <a:gd name="connsiteX24" fmla="*/ 1270503 w 1376126"/>
              <a:gd name="connsiteY24" fmla="*/ 609600 h 663920"/>
              <a:gd name="connsiteX25" fmla="*/ 1376126 w 1376126"/>
              <a:gd name="connsiteY25" fmla="*/ 657885 h 663920"/>
              <a:gd name="connsiteX26" fmla="*/ 1370091 w 1376126"/>
              <a:gd name="connsiteY26" fmla="*/ 353085 h 663920"/>
              <a:gd name="connsiteX27" fmla="*/ 1345948 w 1376126"/>
              <a:gd name="connsiteY27" fmla="*/ 196158 h 663920"/>
              <a:gd name="connsiteX28" fmla="*/ 1333877 w 1376126"/>
              <a:gd name="connsiteY28" fmla="*/ 90534 h 663920"/>
              <a:gd name="connsiteX29" fmla="*/ 1312752 w 1376126"/>
              <a:gd name="connsiteY29" fmla="*/ 0 h 663920"/>
              <a:gd name="connsiteX30" fmla="*/ 742384 w 1376126"/>
              <a:gd name="connsiteY30" fmla="*/ 45267 h 663920"/>
              <a:gd name="connsiteX31" fmla="*/ 0 w 1376126"/>
              <a:gd name="connsiteY31" fmla="*/ 51303 h 663920"/>
              <a:gd name="connsiteX0" fmla="*/ 0 w 1390176"/>
              <a:gd name="connsiteY0" fmla="*/ 51303 h 677287"/>
              <a:gd name="connsiteX1" fmla="*/ 3017 w 1390176"/>
              <a:gd name="connsiteY1" fmla="*/ 147873 h 677287"/>
              <a:gd name="connsiteX2" fmla="*/ 464744 w 1390176"/>
              <a:gd name="connsiteY2" fmla="*/ 156926 h 677287"/>
              <a:gd name="connsiteX3" fmla="*/ 461726 w 1390176"/>
              <a:gd name="connsiteY3" fmla="*/ 513029 h 677287"/>
              <a:gd name="connsiteX4" fmla="*/ 482851 w 1390176"/>
              <a:gd name="connsiteY4" fmla="*/ 525101 h 677287"/>
              <a:gd name="connsiteX5" fmla="*/ 525101 w 1390176"/>
              <a:gd name="connsiteY5" fmla="*/ 528118 h 677287"/>
              <a:gd name="connsiteX6" fmla="*/ 549243 w 1390176"/>
              <a:gd name="connsiteY6" fmla="*/ 534154 h 677287"/>
              <a:gd name="connsiteX7" fmla="*/ 564332 w 1390176"/>
              <a:gd name="connsiteY7" fmla="*/ 546225 h 677287"/>
              <a:gd name="connsiteX8" fmla="*/ 607114 w 1390176"/>
              <a:gd name="connsiteY8" fmla="*/ 550001 h 677287"/>
              <a:gd name="connsiteX9" fmla="*/ 633742 w 1390176"/>
              <a:gd name="connsiteY9" fmla="*/ 585457 h 677287"/>
              <a:gd name="connsiteX10" fmla="*/ 666187 w 1390176"/>
              <a:gd name="connsiteY10" fmla="*/ 589252 h 677287"/>
              <a:gd name="connsiteX11" fmla="*/ 691081 w 1390176"/>
              <a:gd name="connsiteY11" fmla="*/ 597528 h 677287"/>
              <a:gd name="connsiteX12" fmla="*/ 757473 w 1390176"/>
              <a:gd name="connsiteY12" fmla="*/ 585457 h 677287"/>
              <a:gd name="connsiteX13" fmla="*/ 841972 w 1390176"/>
              <a:gd name="connsiteY13" fmla="*/ 630724 h 677287"/>
              <a:gd name="connsiteX14" fmla="*/ 884221 w 1390176"/>
              <a:gd name="connsiteY14" fmla="*/ 615635 h 677287"/>
              <a:gd name="connsiteX15" fmla="*/ 920435 w 1390176"/>
              <a:gd name="connsiteY15" fmla="*/ 642796 h 677287"/>
              <a:gd name="connsiteX16" fmla="*/ 962685 w 1390176"/>
              <a:gd name="connsiteY16" fmla="*/ 636760 h 677287"/>
              <a:gd name="connsiteX17" fmla="*/ 1001917 w 1390176"/>
              <a:gd name="connsiteY17" fmla="*/ 648831 h 677287"/>
              <a:gd name="connsiteX18" fmla="*/ 1038130 w 1390176"/>
              <a:gd name="connsiteY18" fmla="*/ 645813 h 677287"/>
              <a:gd name="connsiteX19" fmla="*/ 1074344 w 1390176"/>
              <a:gd name="connsiteY19" fmla="*/ 663920 h 677287"/>
              <a:gd name="connsiteX20" fmla="*/ 1095469 w 1390176"/>
              <a:gd name="connsiteY20" fmla="*/ 660903 h 677287"/>
              <a:gd name="connsiteX21" fmla="*/ 1146772 w 1390176"/>
              <a:gd name="connsiteY21" fmla="*/ 624689 h 677287"/>
              <a:gd name="connsiteX22" fmla="*/ 1186004 w 1390176"/>
              <a:gd name="connsiteY22" fmla="*/ 615635 h 677287"/>
              <a:gd name="connsiteX23" fmla="*/ 1237307 w 1390176"/>
              <a:gd name="connsiteY23" fmla="*/ 621671 h 677287"/>
              <a:gd name="connsiteX24" fmla="*/ 1270503 w 1390176"/>
              <a:gd name="connsiteY24" fmla="*/ 609600 h 677287"/>
              <a:gd name="connsiteX25" fmla="*/ 1390176 w 1390176"/>
              <a:gd name="connsiteY25" fmla="*/ 677287 h 677287"/>
              <a:gd name="connsiteX26" fmla="*/ 1370091 w 1390176"/>
              <a:gd name="connsiteY26" fmla="*/ 353085 h 677287"/>
              <a:gd name="connsiteX27" fmla="*/ 1345948 w 1390176"/>
              <a:gd name="connsiteY27" fmla="*/ 196158 h 677287"/>
              <a:gd name="connsiteX28" fmla="*/ 1333877 w 1390176"/>
              <a:gd name="connsiteY28" fmla="*/ 90534 h 677287"/>
              <a:gd name="connsiteX29" fmla="*/ 1312752 w 1390176"/>
              <a:gd name="connsiteY29" fmla="*/ 0 h 677287"/>
              <a:gd name="connsiteX30" fmla="*/ 742384 w 1390176"/>
              <a:gd name="connsiteY30" fmla="*/ 45267 h 677287"/>
              <a:gd name="connsiteX31" fmla="*/ 0 w 1390176"/>
              <a:gd name="connsiteY31" fmla="*/ 51303 h 677287"/>
              <a:gd name="connsiteX0" fmla="*/ 0 w 1390176"/>
              <a:gd name="connsiteY0" fmla="*/ 51303 h 677287"/>
              <a:gd name="connsiteX1" fmla="*/ 3017 w 1390176"/>
              <a:gd name="connsiteY1" fmla="*/ 147873 h 677287"/>
              <a:gd name="connsiteX2" fmla="*/ 464744 w 1390176"/>
              <a:gd name="connsiteY2" fmla="*/ 156926 h 677287"/>
              <a:gd name="connsiteX3" fmla="*/ 461726 w 1390176"/>
              <a:gd name="connsiteY3" fmla="*/ 513029 h 677287"/>
              <a:gd name="connsiteX4" fmla="*/ 482851 w 1390176"/>
              <a:gd name="connsiteY4" fmla="*/ 525101 h 677287"/>
              <a:gd name="connsiteX5" fmla="*/ 525101 w 1390176"/>
              <a:gd name="connsiteY5" fmla="*/ 528118 h 677287"/>
              <a:gd name="connsiteX6" fmla="*/ 549243 w 1390176"/>
              <a:gd name="connsiteY6" fmla="*/ 534154 h 677287"/>
              <a:gd name="connsiteX7" fmla="*/ 564332 w 1390176"/>
              <a:gd name="connsiteY7" fmla="*/ 546225 h 677287"/>
              <a:gd name="connsiteX8" fmla="*/ 607114 w 1390176"/>
              <a:gd name="connsiteY8" fmla="*/ 550001 h 677287"/>
              <a:gd name="connsiteX9" fmla="*/ 633742 w 1390176"/>
              <a:gd name="connsiteY9" fmla="*/ 585457 h 677287"/>
              <a:gd name="connsiteX10" fmla="*/ 666187 w 1390176"/>
              <a:gd name="connsiteY10" fmla="*/ 589252 h 677287"/>
              <a:gd name="connsiteX11" fmla="*/ 691081 w 1390176"/>
              <a:gd name="connsiteY11" fmla="*/ 597528 h 677287"/>
              <a:gd name="connsiteX12" fmla="*/ 757473 w 1390176"/>
              <a:gd name="connsiteY12" fmla="*/ 585457 h 677287"/>
              <a:gd name="connsiteX13" fmla="*/ 841972 w 1390176"/>
              <a:gd name="connsiteY13" fmla="*/ 630724 h 677287"/>
              <a:gd name="connsiteX14" fmla="*/ 884221 w 1390176"/>
              <a:gd name="connsiteY14" fmla="*/ 615635 h 677287"/>
              <a:gd name="connsiteX15" fmla="*/ 920435 w 1390176"/>
              <a:gd name="connsiteY15" fmla="*/ 642796 h 677287"/>
              <a:gd name="connsiteX16" fmla="*/ 962685 w 1390176"/>
              <a:gd name="connsiteY16" fmla="*/ 636760 h 677287"/>
              <a:gd name="connsiteX17" fmla="*/ 1001917 w 1390176"/>
              <a:gd name="connsiteY17" fmla="*/ 648831 h 677287"/>
              <a:gd name="connsiteX18" fmla="*/ 1038130 w 1390176"/>
              <a:gd name="connsiteY18" fmla="*/ 645813 h 677287"/>
              <a:gd name="connsiteX19" fmla="*/ 1074344 w 1390176"/>
              <a:gd name="connsiteY19" fmla="*/ 663920 h 677287"/>
              <a:gd name="connsiteX20" fmla="*/ 1095469 w 1390176"/>
              <a:gd name="connsiteY20" fmla="*/ 660903 h 677287"/>
              <a:gd name="connsiteX21" fmla="*/ 1146772 w 1390176"/>
              <a:gd name="connsiteY21" fmla="*/ 624689 h 677287"/>
              <a:gd name="connsiteX22" fmla="*/ 1186004 w 1390176"/>
              <a:gd name="connsiteY22" fmla="*/ 615635 h 677287"/>
              <a:gd name="connsiteX23" fmla="*/ 1237307 w 1390176"/>
              <a:gd name="connsiteY23" fmla="*/ 621671 h 677287"/>
              <a:gd name="connsiteX24" fmla="*/ 1270503 w 1390176"/>
              <a:gd name="connsiteY24" fmla="*/ 609600 h 677287"/>
              <a:gd name="connsiteX25" fmla="*/ 1390176 w 1390176"/>
              <a:gd name="connsiteY25" fmla="*/ 677287 h 677287"/>
              <a:gd name="connsiteX26" fmla="*/ 1381761 w 1390176"/>
              <a:gd name="connsiteY26" fmla="*/ 353269 h 677287"/>
              <a:gd name="connsiteX27" fmla="*/ 1345948 w 1390176"/>
              <a:gd name="connsiteY27" fmla="*/ 196158 h 677287"/>
              <a:gd name="connsiteX28" fmla="*/ 1333877 w 1390176"/>
              <a:gd name="connsiteY28" fmla="*/ 90534 h 677287"/>
              <a:gd name="connsiteX29" fmla="*/ 1312752 w 1390176"/>
              <a:gd name="connsiteY29" fmla="*/ 0 h 677287"/>
              <a:gd name="connsiteX30" fmla="*/ 742384 w 1390176"/>
              <a:gd name="connsiteY30" fmla="*/ 45267 h 677287"/>
              <a:gd name="connsiteX31" fmla="*/ 0 w 1390176"/>
              <a:gd name="connsiteY31" fmla="*/ 51303 h 677287"/>
              <a:gd name="connsiteX0" fmla="*/ 0 w 1390176"/>
              <a:gd name="connsiteY0" fmla="*/ 51303 h 677287"/>
              <a:gd name="connsiteX1" fmla="*/ 3017 w 1390176"/>
              <a:gd name="connsiteY1" fmla="*/ 147873 h 677287"/>
              <a:gd name="connsiteX2" fmla="*/ 464744 w 1390176"/>
              <a:gd name="connsiteY2" fmla="*/ 156926 h 677287"/>
              <a:gd name="connsiteX3" fmla="*/ 461726 w 1390176"/>
              <a:gd name="connsiteY3" fmla="*/ 513029 h 677287"/>
              <a:gd name="connsiteX4" fmla="*/ 482851 w 1390176"/>
              <a:gd name="connsiteY4" fmla="*/ 525101 h 677287"/>
              <a:gd name="connsiteX5" fmla="*/ 525101 w 1390176"/>
              <a:gd name="connsiteY5" fmla="*/ 528118 h 677287"/>
              <a:gd name="connsiteX6" fmla="*/ 549243 w 1390176"/>
              <a:gd name="connsiteY6" fmla="*/ 534154 h 677287"/>
              <a:gd name="connsiteX7" fmla="*/ 564332 w 1390176"/>
              <a:gd name="connsiteY7" fmla="*/ 546225 h 677287"/>
              <a:gd name="connsiteX8" fmla="*/ 607114 w 1390176"/>
              <a:gd name="connsiteY8" fmla="*/ 550001 h 677287"/>
              <a:gd name="connsiteX9" fmla="*/ 633742 w 1390176"/>
              <a:gd name="connsiteY9" fmla="*/ 585457 h 677287"/>
              <a:gd name="connsiteX10" fmla="*/ 666187 w 1390176"/>
              <a:gd name="connsiteY10" fmla="*/ 589252 h 677287"/>
              <a:gd name="connsiteX11" fmla="*/ 691081 w 1390176"/>
              <a:gd name="connsiteY11" fmla="*/ 597528 h 677287"/>
              <a:gd name="connsiteX12" fmla="*/ 757473 w 1390176"/>
              <a:gd name="connsiteY12" fmla="*/ 585457 h 677287"/>
              <a:gd name="connsiteX13" fmla="*/ 841972 w 1390176"/>
              <a:gd name="connsiteY13" fmla="*/ 630724 h 677287"/>
              <a:gd name="connsiteX14" fmla="*/ 884221 w 1390176"/>
              <a:gd name="connsiteY14" fmla="*/ 615635 h 677287"/>
              <a:gd name="connsiteX15" fmla="*/ 920435 w 1390176"/>
              <a:gd name="connsiteY15" fmla="*/ 642796 h 677287"/>
              <a:gd name="connsiteX16" fmla="*/ 962685 w 1390176"/>
              <a:gd name="connsiteY16" fmla="*/ 636760 h 677287"/>
              <a:gd name="connsiteX17" fmla="*/ 1001917 w 1390176"/>
              <a:gd name="connsiteY17" fmla="*/ 648831 h 677287"/>
              <a:gd name="connsiteX18" fmla="*/ 1038130 w 1390176"/>
              <a:gd name="connsiteY18" fmla="*/ 645813 h 677287"/>
              <a:gd name="connsiteX19" fmla="*/ 1074344 w 1390176"/>
              <a:gd name="connsiteY19" fmla="*/ 663920 h 677287"/>
              <a:gd name="connsiteX20" fmla="*/ 1095469 w 1390176"/>
              <a:gd name="connsiteY20" fmla="*/ 660903 h 677287"/>
              <a:gd name="connsiteX21" fmla="*/ 1146772 w 1390176"/>
              <a:gd name="connsiteY21" fmla="*/ 624689 h 677287"/>
              <a:gd name="connsiteX22" fmla="*/ 1186004 w 1390176"/>
              <a:gd name="connsiteY22" fmla="*/ 615635 h 677287"/>
              <a:gd name="connsiteX23" fmla="*/ 1237307 w 1390176"/>
              <a:gd name="connsiteY23" fmla="*/ 621671 h 677287"/>
              <a:gd name="connsiteX24" fmla="*/ 1270503 w 1390176"/>
              <a:gd name="connsiteY24" fmla="*/ 609600 h 677287"/>
              <a:gd name="connsiteX25" fmla="*/ 1390176 w 1390176"/>
              <a:gd name="connsiteY25" fmla="*/ 677287 h 677287"/>
              <a:gd name="connsiteX26" fmla="*/ 1381761 w 1390176"/>
              <a:gd name="connsiteY26" fmla="*/ 353269 h 677287"/>
              <a:gd name="connsiteX27" fmla="*/ 1362384 w 1390176"/>
              <a:gd name="connsiteY27" fmla="*/ 196260 h 677287"/>
              <a:gd name="connsiteX28" fmla="*/ 1333877 w 1390176"/>
              <a:gd name="connsiteY28" fmla="*/ 90534 h 677287"/>
              <a:gd name="connsiteX29" fmla="*/ 1312752 w 1390176"/>
              <a:gd name="connsiteY29" fmla="*/ 0 h 677287"/>
              <a:gd name="connsiteX30" fmla="*/ 742384 w 1390176"/>
              <a:gd name="connsiteY30" fmla="*/ 45267 h 677287"/>
              <a:gd name="connsiteX31" fmla="*/ 0 w 1390176"/>
              <a:gd name="connsiteY31" fmla="*/ 51303 h 677287"/>
              <a:gd name="connsiteX0" fmla="*/ 0 w 1390176"/>
              <a:gd name="connsiteY0" fmla="*/ 51303 h 677924"/>
              <a:gd name="connsiteX1" fmla="*/ 3017 w 1390176"/>
              <a:gd name="connsiteY1" fmla="*/ 147873 h 677924"/>
              <a:gd name="connsiteX2" fmla="*/ 464744 w 1390176"/>
              <a:gd name="connsiteY2" fmla="*/ 156926 h 677924"/>
              <a:gd name="connsiteX3" fmla="*/ 461726 w 1390176"/>
              <a:gd name="connsiteY3" fmla="*/ 513029 h 677924"/>
              <a:gd name="connsiteX4" fmla="*/ 482851 w 1390176"/>
              <a:gd name="connsiteY4" fmla="*/ 525101 h 677924"/>
              <a:gd name="connsiteX5" fmla="*/ 525101 w 1390176"/>
              <a:gd name="connsiteY5" fmla="*/ 528118 h 677924"/>
              <a:gd name="connsiteX6" fmla="*/ 549243 w 1390176"/>
              <a:gd name="connsiteY6" fmla="*/ 534154 h 677924"/>
              <a:gd name="connsiteX7" fmla="*/ 564332 w 1390176"/>
              <a:gd name="connsiteY7" fmla="*/ 546225 h 677924"/>
              <a:gd name="connsiteX8" fmla="*/ 607114 w 1390176"/>
              <a:gd name="connsiteY8" fmla="*/ 550001 h 677924"/>
              <a:gd name="connsiteX9" fmla="*/ 633742 w 1390176"/>
              <a:gd name="connsiteY9" fmla="*/ 585457 h 677924"/>
              <a:gd name="connsiteX10" fmla="*/ 666187 w 1390176"/>
              <a:gd name="connsiteY10" fmla="*/ 589252 h 677924"/>
              <a:gd name="connsiteX11" fmla="*/ 691081 w 1390176"/>
              <a:gd name="connsiteY11" fmla="*/ 597528 h 677924"/>
              <a:gd name="connsiteX12" fmla="*/ 757473 w 1390176"/>
              <a:gd name="connsiteY12" fmla="*/ 585457 h 677924"/>
              <a:gd name="connsiteX13" fmla="*/ 841972 w 1390176"/>
              <a:gd name="connsiteY13" fmla="*/ 630724 h 677924"/>
              <a:gd name="connsiteX14" fmla="*/ 884221 w 1390176"/>
              <a:gd name="connsiteY14" fmla="*/ 615635 h 677924"/>
              <a:gd name="connsiteX15" fmla="*/ 920435 w 1390176"/>
              <a:gd name="connsiteY15" fmla="*/ 642796 h 677924"/>
              <a:gd name="connsiteX16" fmla="*/ 962685 w 1390176"/>
              <a:gd name="connsiteY16" fmla="*/ 636760 h 677924"/>
              <a:gd name="connsiteX17" fmla="*/ 1001917 w 1390176"/>
              <a:gd name="connsiteY17" fmla="*/ 648831 h 677924"/>
              <a:gd name="connsiteX18" fmla="*/ 1038130 w 1390176"/>
              <a:gd name="connsiteY18" fmla="*/ 645813 h 677924"/>
              <a:gd name="connsiteX19" fmla="*/ 1074344 w 1390176"/>
              <a:gd name="connsiteY19" fmla="*/ 663920 h 677924"/>
              <a:gd name="connsiteX20" fmla="*/ 1100043 w 1390176"/>
              <a:gd name="connsiteY20" fmla="*/ 677924 h 677924"/>
              <a:gd name="connsiteX21" fmla="*/ 1146772 w 1390176"/>
              <a:gd name="connsiteY21" fmla="*/ 624689 h 677924"/>
              <a:gd name="connsiteX22" fmla="*/ 1186004 w 1390176"/>
              <a:gd name="connsiteY22" fmla="*/ 615635 h 677924"/>
              <a:gd name="connsiteX23" fmla="*/ 1237307 w 1390176"/>
              <a:gd name="connsiteY23" fmla="*/ 621671 h 677924"/>
              <a:gd name="connsiteX24" fmla="*/ 1270503 w 1390176"/>
              <a:gd name="connsiteY24" fmla="*/ 609600 h 677924"/>
              <a:gd name="connsiteX25" fmla="*/ 1390176 w 1390176"/>
              <a:gd name="connsiteY25" fmla="*/ 677287 h 677924"/>
              <a:gd name="connsiteX26" fmla="*/ 1381761 w 1390176"/>
              <a:gd name="connsiteY26" fmla="*/ 353269 h 677924"/>
              <a:gd name="connsiteX27" fmla="*/ 1362384 w 1390176"/>
              <a:gd name="connsiteY27" fmla="*/ 196260 h 677924"/>
              <a:gd name="connsiteX28" fmla="*/ 1333877 w 1390176"/>
              <a:gd name="connsiteY28" fmla="*/ 90534 h 677924"/>
              <a:gd name="connsiteX29" fmla="*/ 1312752 w 1390176"/>
              <a:gd name="connsiteY29" fmla="*/ 0 h 677924"/>
              <a:gd name="connsiteX30" fmla="*/ 742384 w 1390176"/>
              <a:gd name="connsiteY30" fmla="*/ 45267 h 677924"/>
              <a:gd name="connsiteX31" fmla="*/ 0 w 1390176"/>
              <a:gd name="connsiteY31" fmla="*/ 51303 h 677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390176" h="677924">
                <a:moveTo>
                  <a:pt x="0" y="51303"/>
                </a:moveTo>
                <a:cubicBezTo>
                  <a:pt x="1006" y="83493"/>
                  <a:pt x="2011" y="115683"/>
                  <a:pt x="3017" y="147873"/>
                </a:cubicBezTo>
                <a:lnTo>
                  <a:pt x="464744" y="156926"/>
                </a:lnTo>
                <a:lnTo>
                  <a:pt x="461726" y="513029"/>
                </a:lnTo>
                <a:lnTo>
                  <a:pt x="482851" y="525101"/>
                </a:lnTo>
                <a:lnTo>
                  <a:pt x="525101" y="528118"/>
                </a:lnTo>
                <a:lnTo>
                  <a:pt x="549243" y="534154"/>
                </a:lnTo>
                <a:lnTo>
                  <a:pt x="564332" y="546225"/>
                </a:lnTo>
                <a:lnTo>
                  <a:pt x="607114" y="550001"/>
                </a:lnTo>
                <a:lnTo>
                  <a:pt x="633742" y="585457"/>
                </a:lnTo>
                <a:lnTo>
                  <a:pt x="666187" y="589252"/>
                </a:lnTo>
                <a:lnTo>
                  <a:pt x="691081" y="597528"/>
                </a:lnTo>
                <a:lnTo>
                  <a:pt x="757473" y="585457"/>
                </a:lnTo>
                <a:lnTo>
                  <a:pt x="841972" y="630724"/>
                </a:lnTo>
                <a:lnTo>
                  <a:pt x="884221" y="615635"/>
                </a:lnTo>
                <a:lnTo>
                  <a:pt x="920435" y="642796"/>
                </a:lnTo>
                <a:lnTo>
                  <a:pt x="962685" y="636760"/>
                </a:lnTo>
                <a:lnTo>
                  <a:pt x="1001917" y="648831"/>
                </a:lnTo>
                <a:lnTo>
                  <a:pt x="1038130" y="645813"/>
                </a:lnTo>
                <a:lnTo>
                  <a:pt x="1074344" y="663920"/>
                </a:lnTo>
                <a:lnTo>
                  <a:pt x="1100043" y="677924"/>
                </a:lnTo>
                <a:lnTo>
                  <a:pt x="1146772" y="624689"/>
                </a:lnTo>
                <a:lnTo>
                  <a:pt x="1186004" y="615635"/>
                </a:lnTo>
                <a:lnTo>
                  <a:pt x="1237307" y="621671"/>
                </a:lnTo>
                <a:lnTo>
                  <a:pt x="1270503" y="609600"/>
                </a:lnTo>
                <a:lnTo>
                  <a:pt x="1390176" y="677287"/>
                </a:lnTo>
                <a:lnTo>
                  <a:pt x="1381761" y="353269"/>
                </a:lnTo>
                <a:lnTo>
                  <a:pt x="1362384" y="196260"/>
                </a:lnTo>
                <a:lnTo>
                  <a:pt x="1333877" y="90534"/>
                </a:lnTo>
                <a:lnTo>
                  <a:pt x="1312752" y="0"/>
                </a:lnTo>
                <a:lnTo>
                  <a:pt x="742384" y="45267"/>
                </a:lnTo>
                <a:lnTo>
                  <a:pt x="0" y="5130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150527" y="4253870"/>
            <a:ext cx="725631" cy="718910"/>
          </a:xfrm>
          <a:custGeom>
            <a:avLst/>
            <a:gdLst>
              <a:gd name="connsiteX0" fmla="*/ 0 w 751437"/>
              <a:gd name="connsiteY0" fmla="*/ 75445 h 742384"/>
              <a:gd name="connsiteX1" fmla="*/ 36213 w 751437"/>
              <a:gd name="connsiteY1" fmla="*/ 347049 h 742384"/>
              <a:gd name="connsiteX2" fmla="*/ 42249 w 751437"/>
              <a:gd name="connsiteY2" fmla="*/ 633742 h 742384"/>
              <a:gd name="connsiteX3" fmla="*/ 96570 w 751437"/>
              <a:gd name="connsiteY3" fmla="*/ 618653 h 742384"/>
              <a:gd name="connsiteX4" fmla="*/ 114677 w 751437"/>
              <a:gd name="connsiteY4" fmla="*/ 636760 h 742384"/>
              <a:gd name="connsiteX5" fmla="*/ 123730 w 751437"/>
              <a:gd name="connsiteY5" fmla="*/ 742384 h 742384"/>
              <a:gd name="connsiteX6" fmla="*/ 407405 w 751437"/>
              <a:gd name="connsiteY6" fmla="*/ 712206 h 742384"/>
              <a:gd name="connsiteX7" fmla="*/ 579421 w 751437"/>
              <a:gd name="connsiteY7" fmla="*/ 685045 h 742384"/>
              <a:gd name="connsiteX8" fmla="*/ 588475 w 751437"/>
              <a:gd name="connsiteY8" fmla="*/ 700134 h 742384"/>
              <a:gd name="connsiteX9" fmla="*/ 597528 w 751437"/>
              <a:gd name="connsiteY9" fmla="*/ 597528 h 742384"/>
              <a:gd name="connsiteX10" fmla="*/ 573386 w 751437"/>
              <a:gd name="connsiteY10" fmla="*/ 537172 h 742384"/>
              <a:gd name="connsiteX11" fmla="*/ 594510 w 751437"/>
              <a:gd name="connsiteY11" fmla="*/ 473798 h 742384"/>
              <a:gd name="connsiteX12" fmla="*/ 642796 w 751437"/>
              <a:gd name="connsiteY12" fmla="*/ 395334 h 742384"/>
              <a:gd name="connsiteX13" fmla="*/ 651849 w 751437"/>
              <a:gd name="connsiteY13" fmla="*/ 365156 h 742384"/>
              <a:gd name="connsiteX14" fmla="*/ 648831 w 751437"/>
              <a:gd name="connsiteY14" fmla="*/ 341014 h 742384"/>
              <a:gd name="connsiteX15" fmla="*/ 691081 w 751437"/>
              <a:gd name="connsiteY15" fmla="*/ 274622 h 742384"/>
              <a:gd name="connsiteX16" fmla="*/ 700134 w 751437"/>
              <a:gd name="connsiteY16" fmla="*/ 223319 h 742384"/>
              <a:gd name="connsiteX17" fmla="*/ 694099 w 751437"/>
              <a:gd name="connsiteY17" fmla="*/ 205212 h 742384"/>
              <a:gd name="connsiteX18" fmla="*/ 727295 w 751437"/>
              <a:gd name="connsiteY18" fmla="*/ 172016 h 742384"/>
              <a:gd name="connsiteX19" fmla="*/ 718241 w 751437"/>
              <a:gd name="connsiteY19" fmla="*/ 141837 h 742384"/>
              <a:gd name="connsiteX20" fmla="*/ 751437 w 751437"/>
              <a:gd name="connsiteY20" fmla="*/ 72427 h 742384"/>
              <a:gd name="connsiteX21" fmla="*/ 685045 w 751437"/>
              <a:gd name="connsiteY21" fmla="*/ 72427 h 742384"/>
              <a:gd name="connsiteX22" fmla="*/ 660903 w 751437"/>
              <a:gd name="connsiteY22" fmla="*/ 57338 h 742384"/>
              <a:gd name="connsiteX23" fmla="*/ 669956 w 751437"/>
              <a:gd name="connsiteY23" fmla="*/ 0 h 742384"/>
              <a:gd name="connsiteX24" fmla="*/ 669956 w 751437"/>
              <a:gd name="connsiteY24" fmla="*/ 0 h 742384"/>
              <a:gd name="connsiteX25" fmla="*/ 322906 w 751437"/>
              <a:gd name="connsiteY25" fmla="*/ 30178 h 742384"/>
              <a:gd name="connsiteX26" fmla="*/ 162962 w 751437"/>
              <a:gd name="connsiteY26" fmla="*/ 48285 h 742384"/>
              <a:gd name="connsiteX27" fmla="*/ 0 w 751437"/>
              <a:gd name="connsiteY27" fmla="*/ 75445 h 742384"/>
              <a:gd name="connsiteX0" fmla="*/ 0 w 751437"/>
              <a:gd name="connsiteY0" fmla="*/ 75445 h 742384"/>
              <a:gd name="connsiteX1" fmla="*/ 36213 w 751437"/>
              <a:gd name="connsiteY1" fmla="*/ 347049 h 742384"/>
              <a:gd name="connsiteX2" fmla="*/ 42249 w 751437"/>
              <a:gd name="connsiteY2" fmla="*/ 633742 h 742384"/>
              <a:gd name="connsiteX3" fmla="*/ 54809 w 751437"/>
              <a:gd name="connsiteY3" fmla="*/ 644618 h 742384"/>
              <a:gd name="connsiteX4" fmla="*/ 96570 w 751437"/>
              <a:gd name="connsiteY4" fmla="*/ 618653 h 742384"/>
              <a:gd name="connsiteX5" fmla="*/ 114677 w 751437"/>
              <a:gd name="connsiteY5" fmla="*/ 636760 h 742384"/>
              <a:gd name="connsiteX6" fmla="*/ 123730 w 751437"/>
              <a:gd name="connsiteY6" fmla="*/ 742384 h 742384"/>
              <a:gd name="connsiteX7" fmla="*/ 407405 w 751437"/>
              <a:gd name="connsiteY7" fmla="*/ 712206 h 742384"/>
              <a:gd name="connsiteX8" fmla="*/ 579421 w 751437"/>
              <a:gd name="connsiteY8" fmla="*/ 685045 h 742384"/>
              <a:gd name="connsiteX9" fmla="*/ 588475 w 751437"/>
              <a:gd name="connsiteY9" fmla="*/ 700134 h 742384"/>
              <a:gd name="connsiteX10" fmla="*/ 597528 w 751437"/>
              <a:gd name="connsiteY10" fmla="*/ 597528 h 742384"/>
              <a:gd name="connsiteX11" fmla="*/ 573386 w 751437"/>
              <a:gd name="connsiteY11" fmla="*/ 537172 h 742384"/>
              <a:gd name="connsiteX12" fmla="*/ 594510 w 751437"/>
              <a:gd name="connsiteY12" fmla="*/ 473798 h 742384"/>
              <a:gd name="connsiteX13" fmla="*/ 642796 w 751437"/>
              <a:gd name="connsiteY13" fmla="*/ 395334 h 742384"/>
              <a:gd name="connsiteX14" fmla="*/ 651849 w 751437"/>
              <a:gd name="connsiteY14" fmla="*/ 365156 h 742384"/>
              <a:gd name="connsiteX15" fmla="*/ 648831 w 751437"/>
              <a:gd name="connsiteY15" fmla="*/ 341014 h 742384"/>
              <a:gd name="connsiteX16" fmla="*/ 691081 w 751437"/>
              <a:gd name="connsiteY16" fmla="*/ 274622 h 742384"/>
              <a:gd name="connsiteX17" fmla="*/ 700134 w 751437"/>
              <a:gd name="connsiteY17" fmla="*/ 223319 h 742384"/>
              <a:gd name="connsiteX18" fmla="*/ 694099 w 751437"/>
              <a:gd name="connsiteY18" fmla="*/ 205212 h 742384"/>
              <a:gd name="connsiteX19" fmla="*/ 727295 w 751437"/>
              <a:gd name="connsiteY19" fmla="*/ 172016 h 742384"/>
              <a:gd name="connsiteX20" fmla="*/ 718241 w 751437"/>
              <a:gd name="connsiteY20" fmla="*/ 141837 h 742384"/>
              <a:gd name="connsiteX21" fmla="*/ 751437 w 751437"/>
              <a:gd name="connsiteY21" fmla="*/ 72427 h 742384"/>
              <a:gd name="connsiteX22" fmla="*/ 685045 w 751437"/>
              <a:gd name="connsiteY22" fmla="*/ 72427 h 742384"/>
              <a:gd name="connsiteX23" fmla="*/ 660903 w 751437"/>
              <a:gd name="connsiteY23" fmla="*/ 57338 h 742384"/>
              <a:gd name="connsiteX24" fmla="*/ 669956 w 751437"/>
              <a:gd name="connsiteY24" fmla="*/ 0 h 742384"/>
              <a:gd name="connsiteX25" fmla="*/ 669956 w 751437"/>
              <a:gd name="connsiteY25" fmla="*/ 0 h 742384"/>
              <a:gd name="connsiteX26" fmla="*/ 322906 w 751437"/>
              <a:gd name="connsiteY26" fmla="*/ 30178 h 742384"/>
              <a:gd name="connsiteX27" fmla="*/ 162962 w 751437"/>
              <a:gd name="connsiteY27" fmla="*/ 48285 h 742384"/>
              <a:gd name="connsiteX28" fmla="*/ 0 w 751437"/>
              <a:gd name="connsiteY28" fmla="*/ 75445 h 742384"/>
              <a:gd name="connsiteX0" fmla="*/ 0 w 751437"/>
              <a:gd name="connsiteY0" fmla="*/ 75445 h 742384"/>
              <a:gd name="connsiteX1" fmla="*/ 36213 w 751437"/>
              <a:gd name="connsiteY1" fmla="*/ 347049 h 742384"/>
              <a:gd name="connsiteX2" fmla="*/ 42249 w 751437"/>
              <a:gd name="connsiteY2" fmla="*/ 633742 h 742384"/>
              <a:gd name="connsiteX3" fmla="*/ 54809 w 751437"/>
              <a:gd name="connsiteY3" fmla="*/ 644618 h 742384"/>
              <a:gd name="connsiteX4" fmla="*/ 91803 w 751437"/>
              <a:gd name="connsiteY4" fmla="*/ 628191 h 742384"/>
              <a:gd name="connsiteX5" fmla="*/ 114677 w 751437"/>
              <a:gd name="connsiteY5" fmla="*/ 636760 h 742384"/>
              <a:gd name="connsiteX6" fmla="*/ 123730 w 751437"/>
              <a:gd name="connsiteY6" fmla="*/ 742384 h 742384"/>
              <a:gd name="connsiteX7" fmla="*/ 407405 w 751437"/>
              <a:gd name="connsiteY7" fmla="*/ 712206 h 742384"/>
              <a:gd name="connsiteX8" fmla="*/ 579421 w 751437"/>
              <a:gd name="connsiteY8" fmla="*/ 685045 h 742384"/>
              <a:gd name="connsiteX9" fmla="*/ 588475 w 751437"/>
              <a:gd name="connsiteY9" fmla="*/ 700134 h 742384"/>
              <a:gd name="connsiteX10" fmla="*/ 597528 w 751437"/>
              <a:gd name="connsiteY10" fmla="*/ 597528 h 742384"/>
              <a:gd name="connsiteX11" fmla="*/ 573386 w 751437"/>
              <a:gd name="connsiteY11" fmla="*/ 537172 h 742384"/>
              <a:gd name="connsiteX12" fmla="*/ 594510 w 751437"/>
              <a:gd name="connsiteY12" fmla="*/ 473798 h 742384"/>
              <a:gd name="connsiteX13" fmla="*/ 642796 w 751437"/>
              <a:gd name="connsiteY13" fmla="*/ 395334 h 742384"/>
              <a:gd name="connsiteX14" fmla="*/ 651849 w 751437"/>
              <a:gd name="connsiteY14" fmla="*/ 365156 h 742384"/>
              <a:gd name="connsiteX15" fmla="*/ 648831 w 751437"/>
              <a:gd name="connsiteY15" fmla="*/ 341014 h 742384"/>
              <a:gd name="connsiteX16" fmla="*/ 691081 w 751437"/>
              <a:gd name="connsiteY16" fmla="*/ 274622 h 742384"/>
              <a:gd name="connsiteX17" fmla="*/ 700134 w 751437"/>
              <a:gd name="connsiteY17" fmla="*/ 223319 h 742384"/>
              <a:gd name="connsiteX18" fmla="*/ 694099 w 751437"/>
              <a:gd name="connsiteY18" fmla="*/ 205212 h 742384"/>
              <a:gd name="connsiteX19" fmla="*/ 727295 w 751437"/>
              <a:gd name="connsiteY19" fmla="*/ 172016 h 742384"/>
              <a:gd name="connsiteX20" fmla="*/ 718241 w 751437"/>
              <a:gd name="connsiteY20" fmla="*/ 141837 h 742384"/>
              <a:gd name="connsiteX21" fmla="*/ 751437 w 751437"/>
              <a:gd name="connsiteY21" fmla="*/ 72427 h 742384"/>
              <a:gd name="connsiteX22" fmla="*/ 685045 w 751437"/>
              <a:gd name="connsiteY22" fmla="*/ 72427 h 742384"/>
              <a:gd name="connsiteX23" fmla="*/ 660903 w 751437"/>
              <a:gd name="connsiteY23" fmla="*/ 57338 h 742384"/>
              <a:gd name="connsiteX24" fmla="*/ 669956 w 751437"/>
              <a:gd name="connsiteY24" fmla="*/ 0 h 742384"/>
              <a:gd name="connsiteX25" fmla="*/ 669956 w 751437"/>
              <a:gd name="connsiteY25" fmla="*/ 0 h 742384"/>
              <a:gd name="connsiteX26" fmla="*/ 322906 w 751437"/>
              <a:gd name="connsiteY26" fmla="*/ 30178 h 742384"/>
              <a:gd name="connsiteX27" fmla="*/ 162962 w 751437"/>
              <a:gd name="connsiteY27" fmla="*/ 48285 h 742384"/>
              <a:gd name="connsiteX28" fmla="*/ 0 w 751437"/>
              <a:gd name="connsiteY28" fmla="*/ 75445 h 742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751437" h="742384">
                <a:moveTo>
                  <a:pt x="0" y="75445"/>
                </a:moveTo>
                <a:lnTo>
                  <a:pt x="36213" y="347049"/>
                </a:lnTo>
                <a:lnTo>
                  <a:pt x="42249" y="633742"/>
                </a:lnTo>
                <a:cubicBezTo>
                  <a:pt x="44847" y="632598"/>
                  <a:pt x="52211" y="645762"/>
                  <a:pt x="54809" y="644618"/>
                </a:cubicBezTo>
                <a:lnTo>
                  <a:pt x="91803" y="628191"/>
                </a:lnTo>
                <a:lnTo>
                  <a:pt x="114677" y="636760"/>
                </a:lnTo>
                <a:lnTo>
                  <a:pt x="123730" y="742384"/>
                </a:lnTo>
                <a:lnTo>
                  <a:pt x="407405" y="712206"/>
                </a:lnTo>
                <a:lnTo>
                  <a:pt x="579421" y="685045"/>
                </a:lnTo>
                <a:lnTo>
                  <a:pt x="588475" y="700134"/>
                </a:lnTo>
                <a:lnTo>
                  <a:pt x="597528" y="597528"/>
                </a:lnTo>
                <a:lnTo>
                  <a:pt x="573386" y="537172"/>
                </a:lnTo>
                <a:lnTo>
                  <a:pt x="594510" y="473798"/>
                </a:lnTo>
                <a:lnTo>
                  <a:pt x="642796" y="395334"/>
                </a:lnTo>
                <a:lnTo>
                  <a:pt x="651849" y="365156"/>
                </a:lnTo>
                <a:lnTo>
                  <a:pt x="648831" y="341014"/>
                </a:lnTo>
                <a:lnTo>
                  <a:pt x="691081" y="274622"/>
                </a:lnTo>
                <a:lnTo>
                  <a:pt x="700134" y="223319"/>
                </a:lnTo>
                <a:lnTo>
                  <a:pt x="694099" y="205212"/>
                </a:lnTo>
                <a:lnTo>
                  <a:pt x="727295" y="172016"/>
                </a:lnTo>
                <a:lnTo>
                  <a:pt x="718241" y="141837"/>
                </a:lnTo>
                <a:lnTo>
                  <a:pt x="751437" y="72427"/>
                </a:lnTo>
                <a:lnTo>
                  <a:pt x="685045" y="72427"/>
                </a:lnTo>
                <a:lnTo>
                  <a:pt x="660903" y="57338"/>
                </a:lnTo>
                <a:lnTo>
                  <a:pt x="669956" y="0"/>
                </a:lnTo>
                <a:lnTo>
                  <a:pt x="669956" y="0"/>
                </a:lnTo>
                <a:lnTo>
                  <a:pt x="322906" y="30178"/>
                </a:lnTo>
                <a:lnTo>
                  <a:pt x="162962" y="48285"/>
                </a:lnTo>
                <a:lnTo>
                  <a:pt x="0" y="7544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88997" y="4463232"/>
            <a:ext cx="510856" cy="940587"/>
          </a:xfrm>
          <a:custGeom>
            <a:avLst/>
            <a:gdLst>
              <a:gd name="connsiteX0" fmla="*/ 132784 w 528118"/>
              <a:gd name="connsiteY0" fmla="*/ 54321 h 968721"/>
              <a:gd name="connsiteX1" fmla="*/ 87516 w 528118"/>
              <a:gd name="connsiteY1" fmla="*/ 126748 h 968721"/>
              <a:gd name="connsiteX2" fmla="*/ 93552 w 528118"/>
              <a:gd name="connsiteY2" fmla="*/ 162962 h 968721"/>
              <a:gd name="connsiteX3" fmla="*/ 30178 w 528118"/>
              <a:gd name="connsiteY3" fmla="*/ 265568 h 968721"/>
              <a:gd name="connsiteX4" fmla="*/ 9053 w 528118"/>
              <a:gd name="connsiteY4" fmla="*/ 322907 h 968721"/>
              <a:gd name="connsiteX5" fmla="*/ 36213 w 528118"/>
              <a:gd name="connsiteY5" fmla="*/ 392317 h 968721"/>
              <a:gd name="connsiteX6" fmla="*/ 42249 w 528118"/>
              <a:gd name="connsiteY6" fmla="*/ 494923 h 968721"/>
              <a:gd name="connsiteX7" fmla="*/ 63374 w 528118"/>
              <a:gd name="connsiteY7" fmla="*/ 600546 h 968721"/>
              <a:gd name="connsiteX8" fmla="*/ 39231 w 528118"/>
              <a:gd name="connsiteY8" fmla="*/ 621671 h 968721"/>
              <a:gd name="connsiteX9" fmla="*/ 54320 w 528118"/>
              <a:gd name="connsiteY9" fmla="*/ 669956 h 968721"/>
              <a:gd name="connsiteX10" fmla="*/ 27160 w 528118"/>
              <a:gd name="connsiteY10" fmla="*/ 703152 h 968721"/>
              <a:gd name="connsiteX11" fmla="*/ 21124 w 528118"/>
              <a:gd name="connsiteY11" fmla="*/ 718242 h 968721"/>
              <a:gd name="connsiteX12" fmla="*/ 3017 w 528118"/>
              <a:gd name="connsiteY12" fmla="*/ 742384 h 968721"/>
              <a:gd name="connsiteX13" fmla="*/ 0 w 528118"/>
              <a:gd name="connsiteY13" fmla="*/ 838954 h 968721"/>
              <a:gd name="connsiteX14" fmla="*/ 3017 w 528118"/>
              <a:gd name="connsiteY14" fmla="*/ 851026 h 968721"/>
              <a:gd name="connsiteX15" fmla="*/ 238407 w 528118"/>
              <a:gd name="connsiteY15" fmla="*/ 826883 h 968721"/>
              <a:gd name="connsiteX16" fmla="*/ 280657 w 528118"/>
              <a:gd name="connsiteY16" fmla="*/ 817830 h 968721"/>
              <a:gd name="connsiteX17" fmla="*/ 298764 w 528118"/>
              <a:gd name="connsiteY17" fmla="*/ 838954 h 968721"/>
              <a:gd name="connsiteX18" fmla="*/ 301782 w 528118"/>
              <a:gd name="connsiteY18" fmla="*/ 866115 h 968721"/>
              <a:gd name="connsiteX19" fmla="*/ 298764 w 528118"/>
              <a:gd name="connsiteY19" fmla="*/ 902329 h 968721"/>
              <a:gd name="connsiteX20" fmla="*/ 325924 w 528118"/>
              <a:gd name="connsiteY20" fmla="*/ 923453 h 968721"/>
              <a:gd name="connsiteX21" fmla="*/ 334978 w 528118"/>
              <a:gd name="connsiteY21" fmla="*/ 962685 h 968721"/>
              <a:gd name="connsiteX22" fmla="*/ 347049 w 528118"/>
              <a:gd name="connsiteY22" fmla="*/ 968721 h 968721"/>
              <a:gd name="connsiteX23" fmla="*/ 425512 w 528118"/>
              <a:gd name="connsiteY23" fmla="*/ 917418 h 968721"/>
              <a:gd name="connsiteX24" fmla="*/ 446637 w 528118"/>
              <a:gd name="connsiteY24" fmla="*/ 911382 h 968721"/>
              <a:gd name="connsiteX25" fmla="*/ 476815 w 528118"/>
              <a:gd name="connsiteY25" fmla="*/ 905346 h 968721"/>
              <a:gd name="connsiteX26" fmla="*/ 506994 w 528118"/>
              <a:gd name="connsiteY26" fmla="*/ 914400 h 968721"/>
              <a:gd name="connsiteX27" fmla="*/ 528118 w 528118"/>
              <a:gd name="connsiteY27" fmla="*/ 887240 h 968721"/>
              <a:gd name="connsiteX28" fmla="*/ 494922 w 528118"/>
              <a:gd name="connsiteY28" fmla="*/ 488887 h 968721"/>
              <a:gd name="connsiteX29" fmla="*/ 485869 w 528118"/>
              <a:gd name="connsiteY29" fmla="*/ 277640 h 968721"/>
              <a:gd name="connsiteX30" fmla="*/ 455691 w 528118"/>
              <a:gd name="connsiteY30" fmla="*/ 0 h 968721"/>
              <a:gd name="connsiteX31" fmla="*/ 446637 w 528118"/>
              <a:gd name="connsiteY31" fmla="*/ 15089 h 968721"/>
              <a:gd name="connsiteX32" fmla="*/ 404388 w 528118"/>
              <a:gd name="connsiteY32" fmla="*/ 12071 h 968721"/>
              <a:gd name="connsiteX33" fmla="*/ 132784 w 528118"/>
              <a:gd name="connsiteY33" fmla="*/ 54321 h 968721"/>
              <a:gd name="connsiteX0" fmla="*/ 132784 w 528118"/>
              <a:gd name="connsiteY0" fmla="*/ 54321 h 968721"/>
              <a:gd name="connsiteX1" fmla="*/ 87516 w 528118"/>
              <a:gd name="connsiteY1" fmla="*/ 126748 h 968721"/>
              <a:gd name="connsiteX2" fmla="*/ 93552 w 528118"/>
              <a:gd name="connsiteY2" fmla="*/ 162962 h 968721"/>
              <a:gd name="connsiteX3" fmla="*/ 30178 w 528118"/>
              <a:gd name="connsiteY3" fmla="*/ 265568 h 968721"/>
              <a:gd name="connsiteX4" fmla="*/ 9053 w 528118"/>
              <a:gd name="connsiteY4" fmla="*/ 322907 h 968721"/>
              <a:gd name="connsiteX5" fmla="*/ 36213 w 528118"/>
              <a:gd name="connsiteY5" fmla="*/ 392317 h 968721"/>
              <a:gd name="connsiteX6" fmla="*/ 42249 w 528118"/>
              <a:gd name="connsiteY6" fmla="*/ 494923 h 968721"/>
              <a:gd name="connsiteX7" fmla="*/ 49101 w 528118"/>
              <a:gd name="connsiteY7" fmla="*/ 593411 h 968721"/>
              <a:gd name="connsiteX8" fmla="*/ 39231 w 528118"/>
              <a:gd name="connsiteY8" fmla="*/ 621671 h 968721"/>
              <a:gd name="connsiteX9" fmla="*/ 54320 w 528118"/>
              <a:gd name="connsiteY9" fmla="*/ 669956 h 968721"/>
              <a:gd name="connsiteX10" fmla="*/ 27160 w 528118"/>
              <a:gd name="connsiteY10" fmla="*/ 703152 h 968721"/>
              <a:gd name="connsiteX11" fmla="*/ 21124 w 528118"/>
              <a:gd name="connsiteY11" fmla="*/ 718242 h 968721"/>
              <a:gd name="connsiteX12" fmla="*/ 3017 w 528118"/>
              <a:gd name="connsiteY12" fmla="*/ 742384 h 968721"/>
              <a:gd name="connsiteX13" fmla="*/ 0 w 528118"/>
              <a:gd name="connsiteY13" fmla="*/ 838954 h 968721"/>
              <a:gd name="connsiteX14" fmla="*/ 3017 w 528118"/>
              <a:gd name="connsiteY14" fmla="*/ 851026 h 968721"/>
              <a:gd name="connsiteX15" fmla="*/ 238407 w 528118"/>
              <a:gd name="connsiteY15" fmla="*/ 826883 h 968721"/>
              <a:gd name="connsiteX16" fmla="*/ 280657 w 528118"/>
              <a:gd name="connsiteY16" fmla="*/ 817830 h 968721"/>
              <a:gd name="connsiteX17" fmla="*/ 298764 w 528118"/>
              <a:gd name="connsiteY17" fmla="*/ 838954 h 968721"/>
              <a:gd name="connsiteX18" fmla="*/ 301782 w 528118"/>
              <a:gd name="connsiteY18" fmla="*/ 866115 h 968721"/>
              <a:gd name="connsiteX19" fmla="*/ 298764 w 528118"/>
              <a:gd name="connsiteY19" fmla="*/ 902329 h 968721"/>
              <a:gd name="connsiteX20" fmla="*/ 325924 w 528118"/>
              <a:gd name="connsiteY20" fmla="*/ 923453 h 968721"/>
              <a:gd name="connsiteX21" fmla="*/ 334978 w 528118"/>
              <a:gd name="connsiteY21" fmla="*/ 962685 h 968721"/>
              <a:gd name="connsiteX22" fmla="*/ 347049 w 528118"/>
              <a:gd name="connsiteY22" fmla="*/ 968721 h 968721"/>
              <a:gd name="connsiteX23" fmla="*/ 425512 w 528118"/>
              <a:gd name="connsiteY23" fmla="*/ 917418 h 968721"/>
              <a:gd name="connsiteX24" fmla="*/ 446637 w 528118"/>
              <a:gd name="connsiteY24" fmla="*/ 911382 h 968721"/>
              <a:gd name="connsiteX25" fmla="*/ 476815 w 528118"/>
              <a:gd name="connsiteY25" fmla="*/ 905346 h 968721"/>
              <a:gd name="connsiteX26" fmla="*/ 506994 w 528118"/>
              <a:gd name="connsiteY26" fmla="*/ 914400 h 968721"/>
              <a:gd name="connsiteX27" fmla="*/ 528118 w 528118"/>
              <a:gd name="connsiteY27" fmla="*/ 887240 h 968721"/>
              <a:gd name="connsiteX28" fmla="*/ 494922 w 528118"/>
              <a:gd name="connsiteY28" fmla="*/ 488887 h 968721"/>
              <a:gd name="connsiteX29" fmla="*/ 485869 w 528118"/>
              <a:gd name="connsiteY29" fmla="*/ 277640 h 968721"/>
              <a:gd name="connsiteX30" fmla="*/ 455691 w 528118"/>
              <a:gd name="connsiteY30" fmla="*/ 0 h 968721"/>
              <a:gd name="connsiteX31" fmla="*/ 446637 w 528118"/>
              <a:gd name="connsiteY31" fmla="*/ 15089 h 968721"/>
              <a:gd name="connsiteX32" fmla="*/ 404388 w 528118"/>
              <a:gd name="connsiteY32" fmla="*/ 12071 h 968721"/>
              <a:gd name="connsiteX33" fmla="*/ 132784 w 528118"/>
              <a:gd name="connsiteY33" fmla="*/ 54321 h 968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528118" h="968721">
                <a:moveTo>
                  <a:pt x="132784" y="54321"/>
                </a:moveTo>
                <a:lnTo>
                  <a:pt x="87516" y="126748"/>
                </a:lnTo>
                <a:lnTo>
                  <a:pt x="93552" y="162962"/>
                </a:lnTo>
                <a:lnTo>
                  <a:pt x="30178" y="265568"/>
                </a:lnTo>
                <a:lnTo>
                  <a:pt x="9053" y="322907"/>
                </a:lnTo>
                <a:lnTo>
                  <a:pt x="36213" y="392317"/>
                </a:lnTo>
                <a:lnTo>
                  <a:pt x="42249" y="494923"/>
                </a:lnTo>
                <a:lnTo>
                  <a:pt x="49101" y="593411"/>
                </a:lnTo>
                <a:lnTo>
                  <a:pt x="39231" y="621671"/>
                </a:lnTo>
                <a:lnTo>
                  <a:pt x="54320" y="669956"/>
                </a:lnTo>
                <a:lnTo>
                  <a:pt x="27160" y="703152"/>
                </a:lnTo>
                <a:lnTo>
                  <a:pt x="21124" y="718242"/>
                </a:lnTo>
                <a:lnTo>
                  <a:pt x="3017" y="742384"/>
                </a:lnTo>
                <a:cubicBezTo>
                  <a:pt x="2011" y="774574"/>
                  <a:pt x="1006" y="806764"/>
                  <a:pt x="0" y="838954"/>
                </a:cubicBezTo>
                <a:lnTo>
                  <a:pt x="3017" y="851026"/>
                </a:lnTo>
                <a:lnTo>
                  <a:pt x="238407" y="826883"/>
                </a:lnTo>
                <a:lnTo>
                  <a:pt x="280657" y="817830"/>
                </a:lnTo>
                <a:lnTo>
                  <a:pt x="298764" y="838954"/>
                </a:lnTo>
                <a:lnTo>
                  <a:pt x="301782" y="866115"/>
                </a:lnTo>
                <a:lnTo>
                  <a:pt x="298764" y="902329"/>
                </a:lnTo>
                <a:lnTo>
                  <a:pt x="325924" y="923453"/>
                </a:lnTo>
                <a:lnTo>
                  <a:pt x="334978" y="962685"/>
                </a:lnTo>
                <a:lnTo>
                  <a:pt x="347049" y="968721"/>
                </a:lnTo>
                <a:lnTo>
                  <a:pt x="425512" y="917418"/>
                </a:lnTo>
                <a:lnTo>
                  <a:pt x="446637" y="911382"/>
                </a:lnTo>
                <a:lnTo>
                  <a:pt x="476815" y="905346"/>
                </a:lnTo>
                <a:lnTo>
                  <a:pt x="506994" y="914400"/>
                </a:lnTo>
                <a:lnTo>
                  <a:pt x="528118" y="887240"/>
                </a:lnTo>
                <a:lnTo>
                  <a:pt x="494922" y="488887"/>
                </a:lnTo>
                <a:lnTo>
                  <a:pt x="485869" y="277640"/>
                </a:lnTo>
                <a:lnTo>
                  <a:pt x="455691" y="0"/>
                </a:lnTo>
                <a:lnTo>
                  <a:pt x="446637" y="15089"/>
                </a:lnTo>
                <a:lnTo>
                  <a:pt x="404388" y="12071"/>
                </a:lnTo>
                <a:lnTo>
                  <a:pt x="132784" y="5432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4915809" y="3527263"/>
            <a:ext cx="1053928" cy="805118"/>
          </a:xfrm>
          <a:custGeom>
            <a:avLst/>
            <a:gdLst>
              <a:gd name="connsiteX0" fmla="*/ 0 w 1089433"/>
              <a:gd name="connsiteY0" fmla="*/ 63374 h 826883"/>
              <a:gd name="connsiteX1" fmla="*/ 57338 w 1089433"/>
              <a:gd name="connsiteY1" fmla="*/ 159945 h 826883"/>
              <a:gd name="connsiteX2" fmla="*/ 117695 w 1089433"/>
              <a:gd name="connsiteY2" fmla="*/ 202194 h 826883"/>
              <a:gd name="connsiteX3" fmla="*/ 120713 w 1089433"/>
              <a:gd name="connsiteY3" fmla="*/ 262550 h 826883"/>
              <a:gd name="connsiteX4" fmla="*/ 193140 w 1089433"/>
              <a:gd name="connsiteY4" fmla="*/ 331960 h 826883"/>
              <a:gd name="connsiteX5" fmla="*/ 214265 w 1089433"/>
              <a:gd name="connsiteY5" fmla="*/ 721259 h 826883"/>
              <a:gd name="connsiteX6" fmla="*/ 247461 w 1089433"/>
              <a:gd name="connsiteY6" fmla="*/ 826883 h 826883"/>
              <a:gd name="connsiteX7" fmla="*/ 905346 w 1089433"/>
              <a:gd name="connsiteY7" fmla="*/ 754455 h 826883"/>
              <a:gd name="connsiteX8" fmla="*/ 908364 w 1089433"/>
              <a:gd name="connsiteY8" fmla="*/ 805758 h 826883"/>
              <a:gd name="connsiteX9" fmla="*/ 932507 w 1089433"/>
              <a:gd name="connsiteY9" fmla="*/ 823865 h 826883"/>
              <a:gd name="connsiteX10" fmla="*/ 989845 w 1089433"/>
              <a:gd name="connsiteY10" fmla="*/ 823865 h 826883"/>
              <a:gd name="connsiteX11" fmla="*/ 998899 w 1089433"/>
              <a:gd name="connsiteY11" fmla="*/ 799723 h 826883"/>
              <a:gd name="connsiteX12" fmla="*/ 995881 w 1089433"/>
              <a:gd name="connsiteY12" fmla="*/ 772562 h 826883"/>
              <a:gd name="connsiteX13" fmla="*/ 1029077 w 1089433"/>
              <a:gd name="connsiteY13" fmla="*/ 700135 h 826883"/>
              <a:gd name="connsiteX14" fmla="*/ 1056237 w 1089433"/>
              <a:gd name="connsiteY14" fmla="*/ 675992 h 826883"/>
              <a:gd name="connsiteX15" fmla="*/ 1089433 w 1089433"/>
              <a:gd name="connsiteY15" fmla="*/ 682028 h 826883"/>
              <a:gd name="connsiteX16" fmla="*/ 1068309 w 1089433"/>
              <a:gd name="connsiteY16" fmla="*/ 648832 h 826883"/>
              <a:gd name="connsiteX17" fmla="*/ 1065291 w 1089433"/>
              <a:gd name="connsiteY17" fmla="*/ 597529 h 826883"/>
              <a:gd name="connsiteX18" fmla="*/ 1035113 w 1089433"/>
              <a:gd name="connsiteY18" fmla="*/ 588475 h 826883"/>
              <a:gd name="connsiteX19" fmla="*/ 1001917 w 1089433"/>
              <a:gd name="connsiteY19" fmla="*/ 576404 h 826883"/>
              <a:gd name="connsiteX20" fmla="*/ 977774 w 1089433"/>
              <a:gd name="connsiteY20" fmla="*/ 528119 h 826883"/>
              <a:gd name="connsiteX21" fmla="*/ 965703 w 1089433"/>
              <a:gd name="connsiteY21" fmla="*/ 479834 h 826883"/>
              <a:gd name="connsiteX22" fmla="*/ 935525 w 1089433"/>
              <a:gd name="connsiteY22" fmla="*/ 461727 h 826883"/>
              <a:gd name="connsiteX23" fmla="*/ 872150 w 1089433"/>
              <a:gd name="connsiteY23" fmla="*/ 422495 h 826883"/>
              <a:gd name="connsiteX24" fmla="*/ 829901 w 1089433"/>
              <a:gd name="connsiteY24" fmla="*/ 356103 h 826883"/>
              <a:gd name="connsiteX25" fmla="*/ 838954 w 1089433"/>
              <a:gd name="connsiteY25" fmla="*/ 328943 h 826883"/>
              <a:gd name="connsiteX26" fmla="*/ 866115 w 1089433"/>
              <a:gd name="connsiteY26" fmla="*/ 301782 h 826883"/>
              <a:gd name="connsiteX27" fmla="*/ 817830 w 1089433"/>
              <a:gd name="connsiteY27" fmla="*/ 256515 h 826883"/>
              <a:gd name="connsiteX28" fmla="*/ 805758 w 1089433"/>
              <a:gd name="connsiteY28" fmla="*/ 271604 h 826883"/>
              <a:gd name="connsiteX29" fmla="*/ 787651 w 1089433"/>
              <a:gd name="connsiteY29" fmla="*/ 277640 h 826883"/>
              <a:gd name="connsiteX30" fmla="*/ 766527 w 1089433"/>
              <a:gd name="connsiteY30" fmla="*/ 241426 h 826883"/>
              <a:gd name="connsiteX31" fmla="*/ 745402 w 1089433"/>
              <a:gd name="connsiteY31" fmla="*/ 181069 h 826883"/>
              <a:gd name="connsiteX32" fmla="*/ 712206 w 1089433"/>
              <a:gd name="connsiteY32" fmla="*/ 168998 h 826883"/>
              <a:gd name="connsiteX33" fmla="*/ 675992 w 1089433"/>
              <a:gd name="connsiteY33" fmla="*/ 156927 h 826883"/>
              <a:gd name="connsiteX34" fmla="*/ 657885 w 1089433"/>
              <a:gd name="connsiteY34" fmla="*/ 141838 h 826883"/>
              <a:gd name="connsiteX35" fmla="*/ 648831 w 1089433"/>
              <a:gd name="connsiteY35" fmla="*/ 90535 h 826883"/>
              <a:gd name="connsiteX36" fmla="*/ 639778 w 1089433"/>
              <a:gd name="connsiteY36" fmla="*/ 57339 h 826883"/>
              <a:gd name="connsiteX37" fmla="*/ 633742 w 1089433"/>
              <a:gd name="connsiteY37" fmla="*/ 24143 h 826883"/>
              <a:gd name="connsiteX38" fmla="*/ 576404 w 1089433"/>
              <a:gd name="connsiteY38" fmla="*/ 0 h 826883"/>
              <a:gd name="connsiteX39" fmla="*/ 0 w 1089433"/>
              <a:gd name="connsiteY39" fmla="*/ 63374 h 826883"/>
              <a:gd name="connsiteX0" fmla="*/ 0 w 1089433"/>
              <a:gd name="connsiteY0" fmla="*/ 63374 h 829264"/>
              <a:gd name="connsiteX1" fmla="*/ 57338 w 1089433"/>
              <a:gd name="connsiteY1" fmla="*/ 159945 h 829264"/>
              <a:gd name="connsiteX2" fmla="*/ 117695 w 1089433"/>
              <a:gd name="connsiteY2" fmla="*/ 202194 h 829264"/>
              <a:gd name="connsiteX3" fmla="*/ 120713 w 1089433"/>
              <a:gd name="connsiteY3" fmla="*/ 262550 h 829264"/>
              <a:gd name="connsiteX4" fmla="*/ 193140 w 1089433"/>
              <a:gd name="connsiteY4" fmla="*/ 331960 h 829264"/>
              <a:gd name="connsiteX5" fmla="*/ 214265 w 1089433"/>
              <a:gd name="connsiteY5" fmla="*/ 721259 h 829264"/>
              <a:gd name="connsiteX6" fmla="*/ 235568 w 1089433"/>
              <a:gd name="connsiteY6" fmla="*/ 829264 h 829264"/>
              <a:gd name="connsiteX7" fmla="*/ 905346 w 1089433"/>
              <a:gd name="connsiteY7" fmla="*/ 754455 h 829264"/>
              <a:gd name="connsiteX8" fmla="*/ 908364 w 1089433"/>
              <a:gd name="connsiteY8" fmla="*/ 805758 h 829264"/>
              <a:gd name="connsiteX9" fmla="*/ 932507 w 1089433"/>
              <a:gd name="connsiteY9" fmla="*/ 823865 h 829264"/>
              <a:gd name="connsiteX10" fmla="*/ 989845 w 1089433"/>
              <a:gd name="connsiteY10" fmla="*/ 823865 h 829264"/>
              <a:gd name="connsiteX11" fmla="*/ 998899 w 1089433"/>
              <a:gd name="connsiteY11" fmla="*/ 799723 h 829264"/>
              <a:gd name="connsiteX12" fmla="*/ 995881 w 1089433"/>
              <a:gd name="connsiteY12" fmla="*/ 772562 h 829264"/>
              <a:gd name="connsiteX13" fmla="*/ 1029077 w 1089433"/>
              <a:gd name="connsiteY13" fmla="*/ 700135 h 829264"/>
              <a:gd name="connsiteX14" fmla="*/ 1056237 w 1089433"/>
              <a:gd name="connsiteY14" fmla="*/ 675992 h 829264"/>
              <a:gd name="connsiteX15" fmla="*/ 1089433 w 1089433"/>
              <a:gd name="connsiteY15" fmla="*/ 682028 h 829264"/>
              <a:gd name="connsiteX16" fmla="*/ 1068309 w 1089433"/>
              <a:gd name="connsiteY16" fmla="*/ 648832 h 829264"/>
              <a:gd name="connsiteX17" fmla="*/ 1065291 w 1089433"/>
              <a:gd name="connsiteY17" fmla="*/ 597529 h 829264"/>
              <a:gd name="connsiteX18" fmla="*/ 1035113 w 1089433"/>
              <a:gd name="connsiteY18" fmla="*/ 588475 h 829264"/>
              <a:gd name="connsiteX19" fmla="*/ 1001917 w 1089433"/>
              <a:gd name="connsiteY19" fmla="*/ 576404 h 829264"/>
              <a:gd name="connsiteX20" fmla="*/ 977774 w 1089433"/>
              <a:gd name="connsiteY20" fmla="*/ 528119 h 829264"/>
              <a:gd name="connsiteX21" fmla="*/ 965703 w 1089433"/>
              <a:gd name="connsiteY21" fmla="*/ 479834 h 829264"/>
              <a:gd name="connsiteX22" fmla="*/ 935525 w 1089433"/>
              <a:gd name="connsiteY22" fmla="*/ 461727 h 829264"/>
              <a:gd name="connsiteX23" fmla="*/ 872150 w 1089433"/>
              <a:gd name="connsiteY23" fmla="*/ 422495 h 829264"/>
              <a:gd name="connsiteX24" fmla="*/ 829901 w 1089433"/>
              <a:gd name="connsiteY24" fmla="*/ 356103 h 829264"/>
              <a:gd name="connsiteX25" fmla="*/ 838954 w 1089433"/>
              <a:gd name="connsiteY25" fmla="*/ 328943 h 829264"/>
              <a:gd name="connsiteX26" fmla="*/ 866115 w 1089433"/>
              <a:gd name="connsiteY26" fmla="*/ 301782 h 829264"/>
              <a:gd name="connsiteX27" fmla="*/ 817830 w 1089433"/>
              <a:gd name="connsiteY27" fmla="*/ 256515 h 829264"/>
              <a:gd name="connsiteX28" fmla="*/ 805758 w 1089433"/>
              <a:gd name="connsiteY28" fmla="*/ 271604 h 829264"/>
              <a:gd name="connsiteX29" fmla="*/ 787651 w 1089433"/>
              <a:gd name="connsiteY29" fmla="*/ 277640 h 829264"/>
              <a:gd name="connsiteX30" fmla="*/ 766527 w 1089433"/>
              <a:gd name="connsiteY30" fmla="*/ 241426 h 829264"/>
              <a:gd name="connsiteX31" fmla="*/ 745402 w 1089433"/>
              <a:gd name="connsiteY31" fmla="*/ 181069 h 829264"/>
              <a:gd name="connsiteX32" fmla="*/ 712206 w 1089433"/>
              <a:gd name="connsiteY32" fmla="*/ 168998 h 829264"/>
              <a:gd name="connsiteX33" fmla="*/ 675992 w 1089433"/>
              <a:gd name="connsiteY33" fmla="*/ 156927 h 829264"/>
              <a:gd name="connsiteX34" fmla="*/ 657885 w 1089433"/>
              <a:gd name="connsiteY34" fmla="*/ 141838 h 829264"/>
              <a:gd name="connsiteX35" fmla="*/ 648831 w 1089433"/>
              <a:gd name="connsiteY35" fmla="*/ 90535 h 829264"/>
              <a:gd name="connsiteX36" fmla="*/ 639778 w 1089433"/>
              <a:gd name="connsiteY36" fmla="*/ 57339 h 829264"/>
              <a:gd name="connsiteX37" fmla="*/ 633742 w 1089433"/>
              <a:gd name="connsiteY37" fmla="*/ 24143 h 829264"/>
              <a:gd name="connsiteX38" fmla="*/ 576404 w 1089433"/>
              <a:gd name="connsiteY38" fmla="*/ 0 h 829264"/>
              <a:gd name="connsiteX39" fmla="*/ 0 w 1089433"/>
              <a:gd name="connsiteY39" fmla="*/ 63374 h 829264"/>
              <a:gd name="connsiteX0" fmla="*/ 0 w 1089433"/>
              <a:gd name="connsiteY0" fmla="*/ 63374 h 829264"/>
              <a:gd name="connsiteX1" fmla="*/ 57338 w 1089433"/>
              <a:gd name="connsiteY1" fmla="*/ 159945 h 829264"/>
              <a:gd name="connsiteX2" fmla="*/ 117695 w 1089433"/>
              <a:gd name="connsiteY2" fmla="*/ 202194 h 829264"/>
              <a:gd name="connsiteX3" fmla="*/ 120713 w 1089433"/>
              <a:gd name="connsiteY3" fmla="*/ 262550 h 829264"/>
              <a:gd name="connsiteX4" fmla="*/ 193140 w 1089433"/>
              <a:gd name="connsiteY4" fmla="*/ 331960 h 829264"/>
              <a:gd name="connsiteX5" fmla="*/ 214265 w 1089433"/>
              <a:gd name="connsiteY5" fmla="*/ 721259 h 829264"/>
              <a:gd name="connsiteX6" fmla="*/ 235568 w 1089433"/>
              <a:gd name="connsiteY6" fmla="*/ 829264 h 829264"/>
              <a:gd name="connsiteX7" fmla="*/ 905346 w 1089433"/>
              <a:gd name="connsiteY7" fmla="*/ 754455 h 829264"/>
              <a:gd name="connsiteX8" fmla="*/ 908364 w 1089433"/>
              <a:gd name="connsiteY8" fmla="*/ 805758 h 829264"/>
              <a:gd name="connsiteX9" fmla="*/ 932507 w 1089433"/>
              <a:gd name="connsiteY9" fmla="*/ 823865 h 829264"/>
              <a:gd name="connsiteX10" fmla="*/ 989845 w 1089433"/>
              <a:gd name="connsiteY10" fmla="*/ 823865 h 829264"/>
              <a:gd name="connsiteX11" fmla="*/ 998899 w 1089433"/>
              <a:gd name="connsiteY11" fmla="*/ 799723 h 829264"/>
              <a:gd name="connsiteX12" fmla="*/ 995881 w 1089433"/>
              <a:gd name="connsiteY12" fmla="*/ 772562 h 829264"/>
              <a:gd name="connsiteX13" fmla="*/ 1029077 w 1089433"/>
              <a:gd name="connsiteY13" fmla="*/ 700135 h 829264"/>
              <a:gd name="connsiteX14" fmla="*/ 1060995 w 1089433"/>
              <a:gd name="connsiteY14" fmla="*/ 687895 h 829264"/>
              <a:gd name="connsiteX15" fmla="*/ 1089433 w 1089433"/>
              <a:gd name="connsiteY15" fmla="*/ 682028 h 829264"/>
              <a:gd name="connsiteX16" fmla="*/ 1068309 w 1089433"/>
              <a:gd name="connsiteY16" fmla="*/ 648832 h 829264"/>
              <a:gd name="connsiteX17" fmla="*/ 1065291 w 1089433"/>
              <a:gd name="connsiteY17" fmla="*/ 597529 h 829264"/>
              <a:gd name="connsiteX18" fmla="*/ 1035113 w 1089433"/>
              <a:gd name="connsiteY18" fmla="*/ 588475 h 829264"/>
              <a:gd name="connsiteX19" fmla="*/ 1001917 w 1089433"/>
              <a:gd name="connsiteY19" fmla="*/ 576404 h 829264"/>
              <a:gd name="connsiteX20" fmla="*/ 977774 w 1089433"/>
              <a:gd name="connsiteY20" fmla="*/ 528119 h 829264"/>
              <a:gd name="connsiteX21" fmla="*/ 965703 w 1089433"/>
              <a:gd name="connsiteY21" fmla="*/ 479834 h 829264"/>
              <a:gd name="connsiteX22" fmla="*/ 935525 w 1089433"/>
              <a:gd name="connsiteY22" fmla="*/ 461727 h 829264"/>
              <a:gd name="connsiteX23" fmla="*/ 872150 w 1089433"/>
              <a:gd name="connsiteY23" fmla="*/ 422495 h 829264"/>
              <a:gd name="connsiteX24" fmla="*/ 829901 w 1089433"/>
              <a:gd name="connsiteY24" fmla="*/ 356103 h 829264"/>
              <a:gd name="connsiteX25" fmla="*/ 838954 w 1089433"/>
              <a:gd name="connsiteY25" fmla="*/ 328943 h 829264"/>
              <a:gd name="connsiteX26" fmla="*/ 866115 w 1089433"/>
              <a:gd name="connsiteY26" fmla="*/ 301782 h 829264"/>
              <a:gd name="connsiteX27" fmla="*/ 817830 w 1089433"/>
              <a:gd name="connsiteY27" fmla="*/ 256515 h 829264"/>
              <a:gd name="connsiteX28" fmla="*/ 805758 w 1089433"/>
              <a:gd name="connsiteY28" fmla="*/ 271604 h 829264"/>
              <a:gd name="connsiteX29" fmla="*/ 787651 w 1089433"/>
              <a:gd name="connsiteY29" fmla="*/ 277640 h 829264"/>
              <a:gd name="connsiteX30" fmla="*/ 766527 w 1089433"/>
              <a:gd name="connsiteY30" fmla="*/ 241426 h 829264"/>
              <a:gd name="connsiteX31" fmla="*/ 745402 w 1089433"/>
              <a:gd name="connsiteY31" fmla="*/ 181069 h 829264"/>
              <a:gd name="connsiteX32" fmla="*/ 712206 w 1089433"/>
              <a:gd name="connsiteY32" fmla="*/ 168998 h 829264"/>
              <a:gd name="connsiteX33" fmla="*/ 675992 w 1089433"/>
              <a:gd name="connsiteY33" fmla="*/ 156927 h 829264"/>
              <a:gd name="connsiteX34" fmla="*/ 657885 w 1089433"/>
              <a:gd name="connsiteY34" fmla="*/ 141838 h 829264"/>
              <a:gd name="connsiteX35" fmla="*/ 648831 w 1089433"/>
              <a:gd name="connsiteY35" fmla="*/ 90535 h 829264"/>
              <a:gd name="connsiteX36" fmla="*/ 639778 w 1089433"/>
              <a:gd name="connsiteY36" fmla="*/ 57339 h 829264"/>
              <a:gd name="connsiteX37" fmla="*/ 633742 w 1089433"/>
              <a:gd name="connsiteY37" fmla="*/ 24143 h 829264"/>
              <a:gd name="connsiteX38" fmla="*/ 576404 w 1089433"/>
              <a:gd name="connsiteY38" fmla="*/ 0 h 829264"/>
              <a:gd name="connsiteX39" fmla="*/ 0 w 1089433"/>
              <a:gd name="connsiteY39" fmla="*/ 63374 h 829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089433" h="829264">
                <a:moveTo>
                  <a:pt x="0" y="63374"/>
                </a:moveTo>
                <a:lnTo>
                  <a:pt x="57338" y="159945"/>
                </a:lnTo>
                <a:lnTo>
                  <a:pt x="117695" y="202194"/>
                </a:lnTo>
                <a:lnTo>
                  <a:pt x="120713" y="262550"/>
                </a:lnTo>
                <a:lnTo>
                  <a:pt x="193140" y="331960"/>
                </a:lnTo>
                <a:lnTo>
                  <a:pt x="214265" y="721259"/>
                </a:lnTo>
                <a:lnTo>
                  <a:pt x="235568" y="829264"/>
                </a:lnTo>
                <a:lnTo>
                  <a:pt x="905346" y="754455"/>
                </a:lnTo>
                <a:lnTo>
                  <a:pt x="908364" y="805758"/>
                </a:lnTo>
                <a:lnTo>
                  <a:pt x="932507" y="823865"/>
                </a:lnTo>
                <a:lnTo>
                  <a:pt x="989845" y="823865"/>
                </a:lnTo>
                <a:lnTo>
                  <a:pt x="998899" y="799723"/>
                </a:lnTo>
                <a:lnTo>
                  <a:pt x="995881" y="772562"/>
                </a:lnTo>
                <a:lnTo>
                  <a:pt x="1029077" y="700135"/>
                </a:lnTo>
                <a:lnTo>
                  <a:pt x="1060995" y="687895"/>
                </a:lnTo>
                <a:lnTo>
                  <a:pt x="1089433" y="682028"/>
                </a:lnTo>
                <a:lnTo>
                  <a:pt x="1068309" y="648832"/>
                </a:lnTo>
                <a:lnTo>
                  <a:pt x="1065291" y="597529"/>
                </a:lnTo>
                <a:lnTo>
                  <a:pt x="1035113" y="588475"/>
                </a:lnTo>
                <a:lnTo>
                  <a:pt x="1001917" y="576404"/>
                </a:lnTo>
                <a:lnTo>
                  <a:pt x="977774" y="528119"/>
                </a:lnTo>
                <a:lnTo>
                  <a:pt x="965703" y="479834"/>
                </a:lnTo>
                <a:lnTo>
                  <a:pt x="935525" y="461727"/>
                </a:lnTo>
                <a:lnTo>
                  <a:pt x="872150" y="422495"/>
                </a:lnTo>
                <a:lnTo>
                  <a:pt x="829901" y="356103"/>
                </a:lnTo>
                <a:lnTo>
                  <a:pt x="838954" y="328943"/>
                </a:lnTo>
                <a:lnTo>
                  <a:pt x="866115" y="301782"/>
                </a:lnTo>
                <a:lnTo>
                  <a:pt x="817830" y="256515"/>
                </a:lnTo>
                <a:lnTo>
                  <a:pt x="805758" y="271604"/>
                </a:lnTo>
                <a:lnTo>
                  <a:pt x="787651" y="277640"/>
                </a:lnTo>
                <a:lnTo>
                  <a:pt x="766527" y="241426"/>
                </a:lnTo>
                <a:lnTo>
                  <a:pt x="745402" y="181069"/>
                </a:lnTo>
                <a:lnTo>
                  <a:pt x="712206" y="168998"/>
                </a:lnTo>
                <a:lnTo>
                  <a:pt x="675992" y="156927"/>
                </a:lnTo>
                <a:lnTo>
                  <a:pt x="657885" y="141838"/>
                </a:lnTo>
                <a:lnTo>
                  <a:pt x="648831" y="90535"/>
                </a:lnTo>
                <a:lnTo>
                  <a:pt x="639778" y="57339"/>
                </a:lnTo>
                <a:lnTo>
                  <a:pt x="633742" y="24143"/>
                </a:lnTo>
                <a:lnTo>
                  <a:pt x="576404" y="0"/>
                </a:lnTo>
                <a:lnTo>
                  <a:pt x="0" y="6337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5208824" y="2354224"/>
            <a:ext cx="800801" cy="798960"/>
          </a:xfrm>
          <a:custGeom>
            <a:avLst/>
            <a:gdLst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36214 w 829901"/>
              <a:gd name="connsiteY6" fmla="*/ 374210 h 823866"/>
              <a:gd name="connsiteX7" fmla="*/ 27160 w 829901"/>
              <a:gd name="connsiteY7" fmla="*/ 380246 h 823866"/>
              <a:gd name="connsiteX8" fmla="*/ 36214 w 829901"/>
              <a:gd name="connsiteY8" fmla="*/ 446638 h 823866"/>
              <a:gd name="connsiteX9" fmla="*/ 75446 w 829901"/>
              <a:gd name="connsiteY9" fmla="*/ 449656 h 823866"/>
              <a:gd name="connsiteX10" fmla="*/ 102606 w 829901"/>
              <a:gd name="connsiteY10" fmla="*/ 461727 h 823866"/>
              <a:gd name="connsiteX11" fmla="*/ 150891 w 829901"/>
              <a:gd name="connsiteY11" fmla="*/ 476816 h 823866"/>
              <a:gd name="connsiteX12" fmla="*/ 190123 w 829901"/>
              <a:gd name="connsiteY12" fmla="*/ 531137 h 823866"/>
              <a:gd name="connsiteX13" fmla="*/ 220301 w 829901"/>
              <a:gd name="connsiteY13" fmla="*/ 537173 h 823866"/>
              <a:gd name="connsiteX14" fmla="*/ 256515 w 829901"/>
              <a:gd name="connsiteY14" fmla="*/ 561315 h 823866"/>
              <a:gd name="connsiteX15" fmla="*/ 277640 w 829901"/>
              <a:gd name="connsiteY15" fmla="*/ 564333 h 823866"/>
              <a:gd name="connsiteX16" fmla="*/ 292729 w 829901"/>
              <a:gd name="connsiteY16" fmla="*/ 618654 h 823866"/>
              <a:gd name="connsiteX17" fmla="*/ 292729 w 829901"/>
              <a:gd name="connsiteY17" fmla="*/ 636761 h 823866"/>
              <a:gd name="connsiteX18" fmla="*/ 301782 w 829901"/>
              <a:gd name="connsiteY18" fmla="*/ 666939 h 823866"/>
              <a:gd name="connsiteX19" fmla="*/ 298764 w 829901"/>
              <a:gd name="connsiteY19" fmla="*/ 682028 h 823866"/>
              <a:gd name="connsiteX20" fmla="*/ 304800 w 829901"/>
              <a:gd name="connsiteY20" fmla="*/ 697117 h 823866"/>
              <a:gd name="connsiteX21" fmla="*/ 301782 w 829901"/>
              <a:gd name="connsiteY21" fmla="*/ 763509 h 823866"/>
              <a:gd name="connsiteX22" fmla="*/ 337996 w 829901"/>
              <a:gd name="connsiteY22" fmla="*/ 793688 h 823866"/>
              <a:gd name="connsiteX23" fmla="*/ 380246 w 829901"/>
              <a:gd name="connsiteY23" fmla="*/ 808777 h 823866"/>
              <a:gd name="connsiteX24" fmla="*/ 404388 w 829901"/>
              <a:gd name="connsiteY24" fmla="*/ 823866 h 823866"/>
              <a:gd name="connsiteX25" fmla="*/ 473798 w 829901"/>
              <a:gd name="connsiteY25" fmla="*/ 808777 h 823866"/>
              <a:gd name="connsiteX26" fmla="*/ 790669 w 829901"/>
              <a:gd name="connsiteY26" fmla="*/ 751438 h 823866"/>
              <a:gd name="connsiteX27" fmla="*/ 802741 w 829901"/>
              <a:gd name="connsiteY27" fmla="*/ 751438 h 823866"/>
              <a:gd name="connsiteX28" fmla="*/ 802741 w 829901"/>
              <a:gd name="connsiteY28" fmla="*/ 688064 h 823866"/>
              <a:gd name="connsiteX29" fmla="*/ 766527 w 829901"/>
              <a:gd name="connsiteY29" fmla="*/ 579422 h 823866"/>
              <a:gd name="connsiteX30" fmla="*/ 772562 w 829901"/>
              <a:gd name="connsiteY30" fmla="*/ 522084 h 823866"/>
              <a:gd name="connsiteX31" fmla="*/ 757473 w 829901"/>
              <a:gd name="connsiteY31" fmla="*/ 473798 h 823866"/>
              <a:gd name="connsiteX32" fmla="*/ 778598 w 829901"/>
              <a:gd name="connsiteY32" fmla="*/ 443620 h 823866"/>
              <a:gd name="connsiteX33" fmla="*/ 781616 w 829901"/>
              <a:gd name="connsiteY33" fmla="*/ 407406 h 823866"/>
              <a:gd name="connsiteX34" fmla="*/ 772562 w 829901"/>
              <a:gd name="connsiteY34" fmla="*/ 353086 h 823866"/>
              <a:gd name="connsiteX35" fmla="*/ 811794 w 829901"/>
              <a:gd name="connsiteY35" fmla="*/ 292729 h 823866"/>
              <a:gd name="connsiteX36" fmla="*/ 829901 w 829901"/>
              <a:gd name="connsiteY36" fmla="*/ 226337 h 823866"/>
              <a:gd name="connsiteX37" fmla="*/ 823865 w 829901"/>
              <a:gd name="connsiteY37" fmla="*/ 220301 h 823866"/>
              <a:gd name="connsiteX38" fmla="*/ 805758 w 829901"/>
              <a:gd name="connsiteY38" fmla="*/ 235391 h 823866"/>
              <a:gd name="connsiteX39" fmla="*/ 787651 w 829901"/>
              <a:gd name="connsiteY39" fmla="*/ 271604 h 823866"/>
              <a:gd name="connsiteX40" fmla="*/ 769545 w 829901"/>
              <a:gd name="connsiteY40" fmla="*/ 307818 h 823866"/>
              <a:gd name="connsiteX41" fmla="*/ 751438 w 829901"/>
              <a:gd name="connsiteY41" fmla="*/ 316872 h 823866"/>
              <a:gd name="connsiteX42" fmla="*/ 745402 w 829901"/>
              <a:gd name="connsiteY42" fmla="*/ 341014 h 823866"/>
              <a:gd name="connsiteX43" fmla="*/ 727295 w 829901"/>
              <a:gd name="connsiteY43" fmla="*/ 362139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15224 w 829901"/>
              <a:gd name="connsiteY46" fmla="*/ 371193 h 823866"/>
              <a:gd name="connsiteX47" fmla="*/ 721259 w 829901"/>
              <a:gd name="connsiteY47" fmla="*/ 316872 h 823866"/>
              <a:gd name="connsiteX48" fmla="*/ 718242 w 829901"/>
              <a:gd name="connsiteY48" fmla="*/ 301783 h 823866"/>
              <a:gd name="connsiteX49" fmla="*/ 730313 w 829901"/>
              <a:gd name="connsiteY49" fmla="*/ 265569 h 823866"/>
              <a:gd name="connsiteX50" fmla="*/ 727295 w 829901"/>
              <a:gd name="connsiteY50" fmla="*/ 226337 h 823866"/>
              <a:gd name="connsiteX51" fmla="*/ 703152 w 829901"/>
              <a:gd name="connsiteY51" fmla="*/ 193141 h 823866"/>
              <a:gd name="connsiteX52" fmla="*/ 697117 w 829901"/>
              <a:gd name="connsiteY52" fmla="*/ 178052 h 823866"/>
              <a:gd name="connsiteX53" fmla="*/ 706170 w 829901"/>
              <a:gd name="connsiteY53" fmla="*/ 162963 h 823866"/>
              <a:gd name="connsiteX54" fmla="*/ 709188 w 829901"/>
              <a:gd name="connsiteY54" fmla="*/ 147874 h 823866"/>
              <a:gd name="connsiteX55" fmla="*/ 691081 w 829901"/>
              <a:gd name="connsiteY55" fmla="*/ 147874 h 823866"/>
              <a:gd name="connsiteX56" fmla="*/ 672974 w 829901"/>
              <a:gd name="connsiteY56" fmla="*/ 147874 h 823866"/>
              <a:gd name="connsiteX57" fmla="*/ 654867 w 829901"/>
              <a:gd name="connsiteY57" fmla="*/ 117695 h 823866"/>
              <a:gd name="connsiteX58" fmla="*/ 615636 w 829901"/>
              <a:gd name="connsiteY58" fmla="*/ 117695 h 823866"/>
              <a:gd name="connsiteX59" fmla="*/ 564333 w 829901"/>
              <a:gd name="connsiteY59" fmla="*/ 111660 h 823866"/>
              <a:gd name="connsiteX60" fmla="*/ 497941 w 829901"/>
              <a:gd name="connsiteY60" fmla="*/ 99589 h 823866"/>
              <a:gd name="connsiteX61" fmla="*/ 443620 w 829901"/>
              <a:gd name="connsiteY61" fmla="*/ 99589 h 823866"/>
              <a:gd name="connsiteX62" fmla="*/ 401370 w 829901"/>
              <a:gd name="connsiteY62" fmla="*/ 93553 h 823866"/>
              <a:gd name="connsiteX63" fmla="*/ 347049 w 829901"/>
              <a:gd name="connsiteY63" fmla="*/ 72428 h 823866"/>
              <a:gd name="connsiteX64" fmla="*/ 328943 w 829901"/>
              <a:gd name="connsiteY64" fmla="*/ 48286 h 823866"/>
              <a:gd name="connsiteX65" fmla="*/ 250479 w 829901"/>
              <a:gd name="connsiteY65" fmla="*/ 51303 h 823866"/>
              <a:gd name="connsiteX66" fmla="*/ 235390 w 829901"/>
              <a:gd name="connsiteY66" fmla="*/ 0 h 823866"/>
              <a:gd name="connsiteX67" fmla="*/ 168998 w 829901"/>
              <a:gd name="connsiteY67" fmla="*/ 30179 h 823866"/>
              <a:gd name="connsiteX68" fmla="*/ 84499 w 829901"/>
              <a:gd name="connsiteY68" fmla="*/ 33196 h 823866"/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36214 w 829901"/>
              <a:gd name="connsiteY6" fmla="*/ 374210 h 823866"/>
              <a:gd name="connsiteX7" fmla="*/ 27160 w 829901"/>
              <a:gd name="connsiteY7" fmla="*/ 380246 h 823866"/>
              <a:gd name="connsiteX8" fmla="*/ 36214 w 829901"/>
              <a:gd name="connsiteY8" fmla="*/ 446638 h 823866"/>
              <a:gd name="connsiteX9" fmla="*/ 75446 w 829901"/>
              <a:gd name="connsiteY9" fmla="*/ 449656 h 823866"/>
              <a:gd name="connsiteX10" fmla="*/ 102606 w 829901"/>
              <a:gd name="connsiteY10" fmla="*/ 461727 h 823866"/>
              <a:gd name="connsiteX11" fmla="*/ 150891 w 829901"/>
              <a:gd name="connsiteY11" fmla="*/ 476816 h 823866"/>
              <a:gd name="connsiteX12" fmla="*/ 190123 w 829901"/>
              <a:gd name="connsiteY12" fmla="*/ 531137 h 823866"/>
              <a:gd name="connsiteX13" fmla="*/ 220301 w 829901"/>
              <a:gd name="connsiteY13" fmla="*/ 537173 h 823866"/>
              <a:gd name="connsiteX14" fmla="*/ 249361 w 829901"/>
              <a:gd name="connsiteY14" fmla="*/ 585126 h 823866"/>
              <a:gd name="connsiteX15" fmla="*/ 277640 w 829901"/>
              <a:gd name="connsiteY15" fmla="*/ 564333 h 823866"/>
              <a:gd name="connsiteX16" fmla="*/ 292729 w 829901"/>
              <a:gd name="connsiteY16" fmla="*/ 618654 h 823866"/>
              <a:gd name="connsiteX17" fmla="*/ 292729 w 829901"/>
              <a:gd name="connsiteY17" fmla="*/ 636761 h 823866"/>
              <a:gd name="connsiteX18" fmla="*/ 301782 w 829901"/>
              <a:gd name="connsiteY18" fmla="*/ 666939 h 823866"/>
              <a:gd name="connsiteX19" fmla="*/ 298764 w 829901"/>
              <a:gd name="connsiteY19" fmla="*/ 682028 h 823866"/>
              <a:gd name="connsiteX20" fmla="*/ 304800 w 829901"/>
              <a:gd name="connsiteY20" fmla="*/ 697117 h 823866"/>
              <a:gd name="connsiteX21" fmla="*/ 301782 w 829901"/>
              <a:gd name="connsiteY21" fmla="*/ 763509 h 823866"/>
              <a:gd name="connsiteX22" fmla="*/ 337996 w 829901"/>
              <a:gd name="connsiteY22" fmla="*/ 793688 h 823866"/>
              <a:gd name="connsiteX23" fmla="*/ 380246 w 829901"/>
              <a:gd name="connsiteY23" fmla="*/ 808777 h 823866"/>
              <a:gd name="connsiteX24" fmla="*/ 404388 w 829901"/>
              <a:gd name="connsiteY24" fmla="*/ 823866 h 823866"/>
              <a:gd name="connsiteX25" fmla="*/ 473798 w 829901"/>
              <a:gd name="connsiteY25" fmla="*/ 808777 h 823866"/>
              <a:gd name="connsiteX26" fmla="*/ 790669 w 829901"/>
              <a:gd name="connsiteY26" fmla="*/ 751438 h 823866"/>
              <a:gd name="connsiteX27" fmla="*/ 802741 w 829901"/>
              <a:gd name="connsiteY27" fmla="*/ 751438 h 823866"/>
              <a:gd name="connsiteX28" fmla="*/ 802741 w 829901"/>
              <a:gd name="connsiteY28" fmla="*/ 688064 h 823866"/>
              <a:gd name="connsiteX29" fmla="*/ 766527 w 829901"/>
              <a:gd name="connsiteY29" fmla="*/ 579422 h 823866"/>
              <a:gd name="connsiteX30" fmla="*/ 772562 w 829901"/>
              <a:gd name="connsiteY30" fmla="*/ 522084 h 823866"/>
              <a:gd name="connsiteX31" fmla="*/ 757473 w 829901"/>
              <a:gd name="connsiteY31" fmla="*/ 473798 h 823866"/>
              <a:gd name="connsiteX32" fmla="*/ 778598 w 829901"/>
              <a:gd name="connsiteY32" fmla="*/ 443620 h 823866"/>
              <a:gd name="connsiteX33" fmla="*/ 781616 w 829901"/>
              <a:gd name="connsiteY33" fmla="*/ 407406 h 823866"/>
              <a:gd name="connsiteX34" fmla="*/ 772562 w 829901"/>
              <a:gd name="connsiteY34" fmla="*/ 353086 h 823866"/>
              <a:gd name="connsiteX35" fmla="*/ 811794 w 829901"/>
              <a:gd name="connsiteY35" fmla="*/ 292729 h 823866"/>
              <a:gd name="connsiteX36" fmla="*/ 829901 w 829901"/>
              <a:gd name="connsiteY36" fmla="*/ 226337 h 823866"/>
              <a:gd name="connsiteX37" fmla="*/ 823865 w 829901"/>
              <a:gd name="connsiteY37" fmla="*/ 220301 h 823866"/>
              <a:gd name="connsiteX38" fmla="*/ 805758 w 829901"/>
              <a:gd name="connsiteY38" fmla="*/ 235391 h 823866"/>
              <a:gd name="connsiteX39" fmla="*/ 787651 w 829901"/>
              <a:gd name="connsiteY39" fmla="*/ 271604 h 823866"/>
              <a:gd name="connsiteX40" fmla="*/ 769545 w 829901"/>
              <a:gd name="connsiteY40" fmla="*/ 307818 h 823866"/>
              <a:gd name="connsiteX41" fmla="*/ 751438 w 829901"/>
              <a:gd name="connsiteY41" fmla="*/ 316872 h 823866"/>
              <a:gd name="connsiteX42" fmla="*/ 745402 w 829901"/>
              <a:gd name="connsiteY42" fmla="*/ 341014 h 823866"/>
              <a:gd name="connsiteX43" fmla="*/ 727295 w 829901"/>
              <a:gd name="connsiteY43" fmla="*/ 362139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15224 w 829901"/>
              <a:gd name="connsiteY46" fmla="*/ 371193 h 823866"/>
              <a:gd name="connsiteX47" fmla="*/ 721259 w 829901"/>
              <a:gd name="connsiteY47" fmla="*/ 316872 h 823866"/>
              <a:gd name="connsiteX48" fmla="*/ 718242 w 829901"/>
              <a:gd name="connsiteY48" fmla="*/ 301783 h 823866"/>
              <a:gd name="connsiteX49" fmla="*/ 730313 w 829901"/>
              <a:gd name="connsiteY49" fmla="*/ 265569 h 823866"/>
              <a:gd name="connsiteX50" fmla="*/ 727295 w 829901"/>
              <a:gd name="connsiteY50" fmla="*/ 226337 h 823866"/>
              <a:gd name="connsiteX51" fmla="*/ 703152 w 829901"/>
              <a:gd name="connsiteY51" fmla="*/ 193141 h 823866"/>
              <a:gd name="connsiteX52" fmla="*/ 697117 w 829901"/>
              <a:gd name="connsiteY52" fmla="*/ 178052 h 823866"/>
              <a:gd name="connsiteX53" fmla="*/ 706170 w 829901"/>
              <a:gd name="connsiteY53" fmla="*/ 162963 h 823866"/>
              <a:gd name="connsiteX54" fmla="*/ 709188 w 829901"/>
              <a:gd name="connsiteY54" fmla="*/ 147874 h 823866"/>
              <a:gd name="connsiteX55" fmla="*/ 691081 w 829901"/>
              <a:gd name="connsiteY55" fmla="*/ 147874 h 823866"/>
              <a:gd name="connsiteX56" fmla="*/ 672974 w 829901"/>
              <a:gd name="connsiteY56" fmla="*/ 147874 h 823866"/>
              <a:gd name="connsiteX57" fmla="*/ 654867 w 829901"/>
              <a:gd name="connsiteY57" fmla="*/ 117695 h 823866"/>
              <a:gd name="connsiteX58" fmla="*/ 615636 w 829901"/>
              <a:gd name="connsiteY58" fmla="*/ 117695 h 823866"/>
              <a:gd name="connsiteX59" fmla="*/ 564333 w 829901"/>
              <a:gd name="connsiteY59" fmla="*/ 111660 h 823866"/>
              <a:gd name="connsiteX60" fmla="*/ 497941 w 829901"/>
              <a:gd name="connsiteY60" fmla="*/ 99589 h 823866"/>
              <a:gd name="connsiteX61" fmla="*/ 443620 w 829901"/>
              <a:gd name="connsiteY61" fmla="*/ 99589 h 823866"/>
              <a:gd name="connsiteX62" fmla="*/ 401370 w 829901"/>
              <a:gd name="connsiteY62" fmla="*/ 93553 h 823866"/>
              <a:gd name="connsiteX63" fmla="*/ 347049 w 829901"/>
              <a:gd name="connsiteY63" fmla="*/ 72428 h 823866"/>
              <a:gd name="connsiteX64" fmla="*/ 328943 w 829901"/>
              <a:gd name="connsiteY64" fmla="*/ 48286 h 823866"/>
              <a:gd name="connsiteX65" fmla="*/ 250479 w 829901"/>
              <a:gd name="connsiteY65" fmla="*/ 51303 h 823866"/>
              <a:gd name="connsiteX66" fmla="*/ 235390 w 829901"/>
              <a:gd name="connsiteY66" fmla="*/ 0 h 823866"/>
              <a:gd name="connsiteX67" fmla="*/ 168998 w 829901"/>
              <a:gd name="connsiteY67" fmla="*/ 30179 h 823866"/>
              <a:gd name="connsiteX68" fmla="*/ 84499 w 829901"/>
              <a:gd name="connsiteY68" fmla="*/ 33196 h 823866"/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36214 w 829901"/>
              <a:gd name="connsiteY6" fmla="*/ 374210 h 823866"/>
              <a:gd name="connsiteX7" fmla="*/ 27160 w 829901"/>
              <a:gd name="connsiteY7" fmla="*/ 380246 h 823866"/>
              <a:gd name="connsiteX8" fmla="*/ 36214 w 829901"/>
              <a:gd name="connsiteY8" fmla="*/ 446638 h 823866"/>
              <a:gd name="connsiteX9" fmla="*/ 75446 w 829901"/>
              <a:gd name="connsiteY9" fmla="*/ 449656 h 823866"/>
              <a:gd name="connsiteX10" fmla="*/ 102606 w 829901"/>
              <a:gd name="connsiteY10" fmla="*/ 461727 h 823866"/>
              <a:gd name="connsiteX11" fmla="*/ 150891 w 829901"/>
              <a:gd name="connsiteY11" fmla="*/ 476816 h 823866"/>
              <a:gd name="connsiteX12" fmla="*/ 175815 w 829901"/>
              <a:gd name="connsiteY12" fmla="*/ 538280 h 823866"/>
              <a:gd name="connsiteX13" fmla="*/ 220301 w 829901"/>
              <a:gd name="connsiteY13" fmla="*/ 537173 h 823866"/>
              <a:gd name="connsiteX14" fmla="*/ 249361 w 829901"/>
              <a:gd name="connsiteY14" fmla="*/ 585126 h 823866"/>
              <a:gd name="connsiteX15" fmla="*/ 277640 w 829901"/>
              <a:gd name="connsiteY15" fmla="*/ 564333 h 823866"/>
              <a:gd name="connsiteX16" fmla="*/ 292729 w 829901"/>
              <a:gd name="connsiteY16" fmla="*/ 618654 h 823866"/>
              <a:gd name="connsiteX17" fmla="*/ 292729 w 829901"/>
              <a:gd name="connsiteY17" fmla="*/ 636761 h 823866"/>
              <a:gd name="connsiteX18" fmla="*/ 301782 w 829901"/>
              <a:gd name="connsiteY18" fmla="*/ 666939 h 823866"/>
              <a:gd name="connsiteX19" fmla="*/ 298764 w 829901"/>
              <a:gd name="connsiteY19" fmla="*/ 682028 h 823866"/>
              <a:gd name="connsiteX20" fmla="*/ 304800 w 829901"/>
              <a:gd name="connsiteY20" fmla="*/ 697117 h 823866"/>
              <a:gd name="connsiteX21" fmla="*/ 301782 w 829901"/>
              <a:gd name="connsiteY21" fmla="*/ 763509 h 823866"/>
              <a:gd name="connsiteX22" fmla="*/ 337996 w 829901"/>
              <a:gd name="connsiteY22" fmla="*/ 793688 h 823866"/>
              <a:gd name="connsiteX23" fmla="*/ 380246 w 829901"/>
              <a:gd name="connsiteY23" fmla="*/ 808777 h 823866"/>
              <a:gd name="connsiteX24" fmla="*/ 404388 w 829901"/>
              <a:gd name="connsiteY24" fmla="*/ 823866 h 823866"/>
              <a:gd name="connsiteX25" fmla="*/ 473798 w 829901"/>
              <a:gd name="connsiteY25" fmla="*/ 808777 h 823866"/>
              <a:gd name="connsiteX26" fmla="*/ 790669 w 829901"/>
              <a:gd name="connsiteY26" fmla="*/ 751438 h 823866"/>
              <a:gd name="connsiteX27" fmla="*/ 802741 w 829901"/>
              <a:gd name="connsiteY27" fmla="*/ 751438 h 823866"/>
              <a:gd name="connsiteX28" fmla="*/ 802741 w 829901"/>
              <a:gd name="connsiteY28" fmla="*/ 688064 h 823866"/>
              <a:gd name="connsiteX29" fmla="*/ 766527 w 829901"/>
              <a:gd name="connsiteY29" fmla="*/ 579422 h 823866"/>
              <a:gd name="connsiteX30" fmla="*/ 772562 w 829901"/>
              <a:gd name="connsiteY30" fmla="*/ 522084 h 823866"/>
              <a:gd name="connsiteX31" fmla="*/ 757473 w 829901"/>
              <a:gd name="connsiteY31" fmla="*/ 473798 h 823866"/>
              <a:gd name="connsiteX32" fmla="*/ 778598 w 829901"/>
              <a:gd name="connsiteY32" fmla="*/ 443620 h 823866"/>
              <a:gd name="connsiteX33" fmla="*/ 781616 w 829901"/>
              <a:gd name="connsiteY33" fmla="*/ 407406 h 823866"/>
              <a:gd name="connsiteX34" fmla="*/ 772562 w 829901"/>
              <a:gd name="connsiteY34" fmla="*/ 353086 h 823866"/>
              <a:gd name="connsiteX35" fmla="*/ 811794 w 829901"/>
              <a:gd name="connsiteY35" fmla="*/ 292729 h 823866"/>
              <a:gd name="connsiteX36" fmla="*/ 829901 w 829901"/>
              <a:gd name="connsiteY36" fmla="*/ 226337 h 823866"/>
              <a:gd name="connsiteX37" fmla="*/ 823865 w 829901"/>
              <a:gd name="connsiteY37" fmla="*/ 220301 h 823866"/>
              <a:gd name="connsiteX38" fmla="*/ 805758 w 829901"/>
              <a:gd name="connsiteY38" fmla="*/ 235391 h 823866"/>
              <a:gd name="connsiteX39" fmla="*/ 787651 w 829901"/>
              <a:gd name="connsiteY39" fmla="*/ 271604 h 823866"/>
              <a:gd name="connsiteX40" fmla="*/ 769545 w 829901"/>
              <a:gd name="connsiteY40" fmla="*/ 307818 h 823866"/>
              <a:gd name="connsiteX41" fmla="*/ 751438 w 829901"/>
              <a:gd name="connsiteY41" fmla="*/ 316872 h 823866"/>
              <a:gd name="connsiteX42" fmla="*/ 745402 w 829901"/>
              <a:gd name="connsiteY42" fmla="*/ 341014 h 823866"/>
              <a:gd name="connsiteX43" fmla="*/ 727295 w 829901"/>
              <a:gd name="connsiteY43" fmla="*/ 362139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15224 w 829901"/>
              <a:gd name="connsiteY46" fmla="*/ 371193 h 823866"/>
              <a:gd name="connsiteX47" fmla="*/ 721259 w 829901"/>
              <a:gd name="connsiteY47" fmla="*/ 316872 h 823866"/>
              <a:gd name="connsiteX48" fmla="*/ 718242 w 829901"/>
              <a:gd name="connsiteY48" fmla="*/ 301783 h 823866"/>
              <a:gd name="connsiteX49" fmla="*/ 730313 w 829901"/>
              <a:gd name="connsiteY49" fmla="*/ 265569 h 823866"/>
              <a:gd name="connsiteX50" fmla="*/ 727295 w 829901"/>
              <a:gd name="connsiteY50" fmla="*/ 226337 h 823866"/>
              <a:gd name="connsiteX51" fmla="*/ 703152 w 829901"/>
              <a:gd name="connsiteY51" fmla="*/ 193141 h 823866"/>
              <a:gd name="connsiteX52" fmla="*/ 697117 w 829901"/>
              <a:gd name="connsiteY52" fmla="*/ 178052 h 823866"/>
              <a:gd name="connsiteX53" fmla="*/ 706170 w 829901"/>
              <a:gd name="connsiteY53" fmla="*/ 162963 h 823866"/>
              <a:gd name="connsiteX54" fmla="*/ 709188 w 829901"/>
              <a:gd name="connsiteY54" fmla="*/ 147874 h 823866"/>
              <a:gd name="connsiteX55" fmla="*/ 691081 w 829901"/>
              <a:gd name="connsiteY55" fmla="*/ 147874 h 823866"/>
              <a:gd name="connsiteX56" fmla="*/ 672974 w 829901"/>
              <a:gd name="connsiteY56" fmla="*/ 147874 h 823866"/>
              <a:gd name="connsiteX57" fmla="*/ 654867 w 829901"/>
              <a:gd name="connsiteY57" fmla="*/ 117695 h 823866"/>
              <a:gd name="connsiteX58" fmla="*/ 615636 w 829901"/>
              <a:gd name="connsiteY58" fmla="*/ 117695 h 823866"/>
              <a:gd name="connsiteX59" fmla="*/ 564333 w 829901"/>
              <a:gd name="connsiteY59" fmla="*/ 111660 h 823866"/>
              <a:gd name="connsiteX60" fmla="*/ 497941 w 829901"/>
              <a:gd name="connsiteY60" fmla="*/ 99589 h 823866"/>
              <a:gd name="connsiteX61" fmla="*/ 443620 w 829901"/>
              <a:gd name="connsiteY61" fmla="*/ 99589 h 823866"/>
              <a:gd name="connsiteX62" fmla="*/ 401370 w 829901"/>
              <a:gd name="connsiteY62" fmla="*/ 93553 h 823866"/>
              <a:gd name="connsiteX63" fmla="*/ 347049 w 829901"/>
              <a:gd name="connsiteY63" fmla="*/ 72428 h 823866"/>
              <a:gd name="connsiteX64" fmla="*/ 328943 w 829901"/>
              <a:gd name="connsiteY64" fmla="*/ 48286 h 823866"/>
              <a:gd name="connsiteX65" fmla="*/ 250479 w 829901"/>
              <a:gd name="connsiteY65" fmla="*/ 51303 h 823866"/>
              <a:gd name="connsiteX66" fmla="*/ 235390 w 829901"/>
              <a:gd name="connsiteY66" fmla="*/ 0 h 823866"/>
              <a:gd name="connsiteX67" fmla="*/ 168998 w 829901"/>
              <a:gd name="connsiteY67" fmla="*/ 30179 h 823866"/>
              <a:gd name="connsiteX68" fmla="*/ 84499 w 829901"/>
              <a:gd name="connsiteY68" fmla="*/ 33196 h 823866"/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36214 w 829901"/>
              <a:gd name="connsiteY6" fmla="*/ 374210 h 823866"/>
              <a:gd name="connsiteX7" fmla="*/ 27160 w 829901"/>
              <a:gd name="connsiteY7" fmla="*/ 380246 h 823866"/>
              <a:gd name="connsiteX8" fmla="*/ 36214 w 829901"/>
              <a:gd name="connsiteY8" fmla="*/ 446638 h 823866"/>
              <a:gd name="connsiteX9" fmla="*/ 75446 w 829901"/>
              <a:gd name="connsiteY9" fmla="*/ 449656 h 823866"/>
              <a:gd name="connsiteX10" fmla="*/ 102606 w 829901"/>
              <a:gd name="connsiteY10" fmla="*/ 461727 h 823866"/>
              <a:gd name="connsiteX11" fmla="*/ 138967 w 829901"/>
              <a:gd name="connsiteY11" fmla="*/ 486341 h 823866"/>
              <a:gd name="connsiteX12" fmla="*/ 175815 w 829901"/>
              <a:gd name="connsiteY12" fmla="*/ 538280 h 823866"/>
              <a:gd name="connsiteX13" fmla="*/ 220301 w 829901"/>
              <a:gd name="connsiteY13" fmla="*/ 537173 h 823866"/>
              <a:gd name="connsiteX14" fmla="*/ 249361 w 829901"/>
              <a:gd name="connsiteY14" fmla="*/ 585126 h 823866"/>
              <a:gd name="connsiteX15" fmla="*/ 277640 w 829901"/>
              <a:gd name="connsiteY15" fmla="*/ 564333 h 823866"/>
              <a:gd name="connsiteX16" fmla="*/ 292729 w 829901"/>
              <a:gd name="connsiteY16" fmla="*/ 618654 h 823866"/>
              <a:gd name="connsiteX17" fmla="*/ 292729 w 829901"/>
              <a:gd name="connsiteY17" fmla="*/ 636761 h 823866"/>
              <a:gd name="connsiteX18" fmla="*/ 301782 w 829901"/>
              <a:gd name="connsiteY18" fmla="*/ 666939 h 823866"/>
              <a:gd name="connsiteX19" fmla="*/ 298764 w 829901"/>
              <a:gd name="connsiteY19" fmla="*/ 682028 h 823866"/>
              <a:gd name="connsiteX20" fmla="*/ 304800 w 829901"/>
              <a:gd name="connsiteY20" fmla="*/ 697117 h 823866"/>
              <a:gd name="connsiteX21" fmla="*/ 301782 w 829901"/>
              <a:gd name="connsiteY21" fmla="*/ 763509 h 823866"/>
              <a:gd name="connsiteX22" fmla="*/ 337996 w 829901"/>
              <a:gd name="connsiteY22" fmla="*/ 793688 h 823866"/>
              <a:gd name="connsiteX23" fmla="*/ 380246 w 829901"/>
              <a:gd name="connsiteY23" fmla="*/ 808777 h 823866"/>
              <a:gd name="connsiteX24" fmla="*/ 404388 w 829901"/>
              <a:gd name="connsiteY24" fmla="*/ 823866 h 823866"/>
              <a:gd name="connsiteX25" fmla="*/ 473798 w 829901"/>
              <a:gd name="connsiteY25" fmla="*/ 808777 h 823866"/>
              <a:gd name="connsiteX26" fmla="*/ 790669 w 829901"/>
              <a:gd name="connsiteY26" fmla="*/ 751438 h 823866"/>
              <a:gd name="connsiteX27" fmla="*/ 802741 w 829901"/>
              <a:gd name="connsiteY27" fmla="*/ 751438 h 823866"/>
              <a:gd name="connsiteX28" fmla="*/ 802741 w 829901"/>
              <a:gd name="connsiteY28" fmla="*/ 688064 h 823866"/>
              <a:gd name="connsiteX29" fmla="*/ 766527 w 829901"/>
              <a:gd name="connsiteY29" fmla="*/ 579422 h 823866"/>
              <a:gd name="connsiteX30" fmla="*/ 772562 w 829901"/>
              <a:gd name="connsiteY30" fmla="*/ 522084 h 823866"/>
              <a:gd name="connsiteX31" fmla="*/ 757473 w 829901"/>
              <a:gd name="connsiteY31" fmla="*/ 473798 h 823866"/>
              <a:gd name="connsiteX32" fmla="*/ 778598 w 829901"/>
              <a:gd name="connsiteY32" fmla="*/ 443620 h 823866"/>
              <a:gd name="connsiteX33" fmla="*/ 781616 w 829901"/>
              <a:gd name="connsiteY33" fmla="*/ 407406 h 823866"/>
              <a:gd name="connsiteX34" fmla="*/ 772562 w 829901"/>
              <a:gd name="connsiteY34" fmla="*/ 353086 h 823866"/>
              <a:gd name="connsiteX35" fmla="*/ 811794 w 829901"/>
              <a:gd name="connsiteY35" fmla="*/ 292729 h 823866"/>
              <a:gd name="connsiteX36" fmla="*/ 829901 w 829901"/>
              <a:gd name="connsiteY36" fmla="*/ 226337 h 823866"/>
              <a:gd name="connsiteX37" fmla="*/ 823865 w 829901"/>
              <a:gd name="connsiteY37" fmla="*/ 220301 h 823866"/>
              <a:gd name="connsiteX38" fmla="*/ 805758 w 829901"/>
              <a:gd name="connsiteY38" fmla="*/ 235391 h 823866"/>
              <a:gd name="connsiteX39" fmla="*/ 787651 w 829901"/>
              <a:gd name="connsiteY39" fmla="*/ 271604 h 823866"/>
              <a:gd name="connsiteX40" fmla="*/ 769545 w 829901"/>
              <a:gd name="connsiteY40" fmla="*/ 307818 h 823866"/>
              <a:gd name="connsiteX41" fmla="*/ 751438 w 829901"/>
              <a:gd name="connsiteY41" fmla="*/ 316872 h 823866"/>
              <a:gd name="connsiteX42" fmla="*/ 745402 w 829901"/>
              <a:gd name="connsiteY42" fmla="*/ 341014 h 823866"/>
              <a:gd name="connsiteX43" fmla="*/ 727295 w 829901"/>
              <a:gd name="connsiteY43" fmla="*/ 362139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15224 w 829901"/>
              <a:gd name="connsiteY46" fmla="*/ 371193 h 823866"/>
              <a:gd name="connsiteX47" fmla="*/ 721259 w 829901"/>
              <a:gd name="connsiteY47" fmla="*/ 316872 h 823866"/>
              <a:gd name="connsiteX48" fmla="*/ 718242 w 829901"/>
              <a:gd name="connsiteY48" fmla="*/ 301783 h 823866"/>
              <a:gd name="connsiteX49" fmla="*/ 730313 w 829901"/>
              <a:gd name="connsiteY49" fmla="*/ 265569 h 823866"/>
              <a:gd name="connsiteX50" fmla="*/ 727295 w 829901"/>
              <a:gd name="connsiteY50" fmla="*/ 226337 h 823866"/>
              <a:gd name="connsiteX51" fmla="*/ 703152 w 829901"/>
              <a:gd name="connsiteY51" fmla="*/ 193141 h 823866"/>
              <a:gd name="connsiteX52" fmla="*/ 697117 w 829901"/>
              <a:gd name="connsiteY52" fmla="*/ 178052 h 823866"/>
              <a:gd name="connsiteX53" fmla="*/ 706170 w 829901"/>
              <a:gd name="connsiteY53" fmla="*/ 162963 h 823866"/>
              <a:gd name="connsiteX54" fmla="*/ 709188 w 829901"/>
              <a:gd name="connsiteY54" fmla="*/ 147874 h 823866"/>
              <a:gd name="connsiteX55" fmla="*/ 691081 w 829901"/>
              <a:gd name="connsiteY55" fmla="*/ 147874 h 823866"/>
              <a:gd name="connsiteX56" fmla="*/ 672974 w 829901"/>
              <a:gd name="connsiteY56" fmla="*/ 147874 h 823866"/>
              <a:gd name="connsiteX57" fmla="*/ 654867 w 829901"/>
              <a:gd name="connsiteY57" fmla="*/ 117695 h 823866"/>
              <a:gd name="connsiteX58" fmla="*/ 615636 w 829901"/>
              <a:gd name="connsiteY58" fmla="*/ 117695 h 823866"/>
              <a:gd name="connsiteX59" fmla="*/ 564333 w 829901"/>
              <a:gd name="connsiteY59" fmla="*/ 111660 h 823866"/>
              <a:gd name="connsiteX60" fmla="*/ 497941 w 829901"/>
              <a:gd name="connsiteY60" fmla="*/ 99589 h 823866"/>
              <a:gd name="connsiteX61" fmla="*/ 443620 w 829901"/>
              <a:gd name="connsiteY61" fmla="*/ 99589 h 823866"/>
              <a:gd name="connsiteX62" fmla="*/ 401370 w 829901"/>
              <a:gd name="connsiteY62" fmla="*/ 93553 h 823866"/>
              <a:gd name="connsiteX63" fmla="*/ 347049 w 829901"/>
              <a:gd name="connsiteY63" fmla="*/ 72428 h 823866"/>
              <a:gd name="connsiteX64" fmla="*/ 328943 w 829901"/>
              <a:gd name="connsiteY64" fmla="*/ 48286 h 823866"/>
              <a:gd name="connsiteX65" fmla="*/ 250479 w 829901"/>
              <a:gd name="connsiteY65" fmla="*/ 51303 h 823866"/>
              <a:gd name="connsiteX66" fmla="*/ 235390 w 829901"/>
              <a:gd name="connsiteY66" fmla="*/ 0 h 823866"/>
              <a:gd name="connsiteX67" fmla="*/ 168998 w 829901"/>
              <a:gd name="connsiteY67" fmla="*/ 30179 h 823866"/>
              <a:gd name="connsiteX68" fmla="*/ 84499 w 829901"/>
              <a:gd name="connsiteY68" fmla="*/ 33196 h 823866"/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36214 w 829901"/>
              <a:gd name="connsiteY6" fmla="*/ 374210 h 823866"/>
              <a:gd name="connsiteX7" fmla="*/ 27160 w 829901"/>
              <a:gd name="connsiteY7" fmla="*/ 380246 h 823866"/>
              <a:gd name="connsiteX8" fmla="*/ 36214 w 829901"/>
              <a:gd name="connsiteY8" fmla="*/ 446638 h 823866"/>
              <a:gd name="connsiteX9" fmla="*/ 75446 w 829901"/>
              <a:gd name="connsiteY9" fmla="*/ 449656 h 823866"/>
              <a:gd name="connsiteX10" fmla="*/ 100221 w 829901"/>
              <a:gd name="connsiteY10" fmla="*/ 468870 h 823866"/>
              <a:gd name="connsiteX11" fmla="*/ 138967 w 829901"/>
              <a:gd name="connsiteY11" fmla="*/ 486341 h 823866"/>
              <a:gd name="connsiteX12" fmla="*/ 175815 w 829901"/>
              <a:gd name="connsiteY12" fmla="*/ 538280 h 823866"/>
              <a:gd name="connsiteX13" fmla="*/ 220301 w 829901"/>
              <a:gd name="connsiteY13" fmla="*/ 537173 h 823866"/>
              <a:gd name="connsiteX14" fmla="*/ 249361 w 829901"/>
              <a:gd name="connsiteY14" fmla="*/ 585126 h 823866"/>
              <a:gd name="connsiteX15" fmla="*/ 277640 w 829901"/>
              <a:gd name="connsiteY15" fmla="*/ 564333 h 823866"/>
              <a:gd name="connsiteX16" fmla="*/ 292729 w 829901"/>
              <a:gd name="connsiteY16" fmla="*/ 618654 h 823866"/>
              <a:gd name="connsiteX17" fmla="*/ 292729 w 829901"/>
              <a:gd name="connsiteY17" fmla="*/ 636761 h 823866"/>
              <a:gd name="connsiteX18" fmla="*/ 301782 w 829901"/>
              <a:gd name="connsiteY18" fmla="*/ 666939 h 823866"/>
              <a:gd name="connsiteX19" fmla="*/ 298764 w 829901"/>
              <a:gd name="connsiteY19" fmla="*/ 682028 h 823866"/>
              <a:gd name="connsiteX20" fmla="*/ 304800 w 829901"/>
              <a:gd name="connsiteY20" fmla="*/ 697117 h 823866"/>
              <a:gd name="connsiteX21" fmla="*/ 301782 w 829901"/>
              <a:gd name="connsiteY21" fmla="*/ 763509 h 823866"/>
              <a:gd name="connsiteX22" fmla="*/ 337996 w 829901"/>
              <a:gd name="connsiteY22" fmla="*/ 793688 h 823866"/>
              <a:gd name="connsiteX23" fmla="*/ 380246 w 829901"/>
              <a:gd name="connsiteY23" fmla="*/ 808777 h 823866"/>
              <a:gd name="connsiteX24" fmla="*/ 404388 w 829901"/>
              <a:gd name="connsiteY24" fmla="*/ 823866 h 823866"/>
              <a:gd name="connsiteX25" fmla="*/ 473798 w 829901"/>
              <a:gd name="connsiteY25" fmla="*/ 808777 h 823866"/>
              <a:gd name="connsiteX26" fmla="*/ 790669 w 829901"/>
              <a:gd name="connsiteY26" fmla="*/ 751438 h 823866"/>
              <a:gd name="connsiteX27" fmla="*/ 802741 w 829901"/>
              <a:gd name="connsiteY27" fmla="*/ 751438 h 823866"/>
              <a:gd name="connsiteX28" fmla="*/ 802741 w 829901"/>
              <a:gd name="connsiteY28" fmla="*/ 688064 h 823866"/>
              <a:gd name="connsiteX29" fmla="*/ 766527 w 829901"/>
              <a:gd name="connsiteY29" fmla="*/ 579422 h 823866"/>
              <a:gd name="connsiteX30" fmla="*/ 772562 w 829901"/>
              <a:gd name="connsiteY30" fmla="*/ 522084 h 823866"/>
              <a:gd name="connsiteX31" fmla="*/ 757473 w 829901"/>
              <a:gd name="connsiteY31" fmla="*/ 473798 h 823866"/>
              <a:gd name="connsiteX32" fmla="*/ 778598 w 829901"/>
              <a:gd name="connsiteY32" fmla="*/ 443620 h 823866"/>
              <a:gd name="connsiteX33" fmla="*/ 781616 w 829901"/>
              <a:gd name="connsiteY33" fmla="*/ 407406 h 823866"/>
              <a:gd name="connsiteX34" fmla="*/ 772562 w 829901"/>
              <a:gd name="connsiteY34" fmla="*/ 353086 h 823866"/>
              <a:gd name="connsiteX35" fmla="*/ 811794 w 829901"/>
              <a:gd name="connsiteY35" fmla="*/ 292729 h 823866"/>
              <a:gd name="connsiteX36" fmla="*/ 829901 w 829901"/>
              <a:gd name="connsiteY36" fmla="*/ 226337 h 823866"/>
              <a:gd name="connsiteX37" fmla="*/ 823865 w 829901"/>
              <a:gd name="connsiteY37" fmla="*/ 220301 h 823866"/>
              <a:gd name="connsiteX38" fmla="*/ 805758 w 829901"/>
              <a:gd name="connsiteY38" fmla="*/ 235391 h 823866"/>
              <a:gd name="connsiteX39" fmla="*/ 787651 w 829901"/>
              <a:gd name="connsiteY39" fmla="*/ 271604 h 823866"/>
              <a:gd name="connsiteX40" fmla="*/ 769545 w 829901"/>
              <a:gd name="connsiteY40" fmla="*/ 307818 h 823866"/>
              <a:gd name="connsiteX41" fmla="*/ 751438 w 829901"/>
              <a:gd name="connsiteY41" fmla="*/ 316872 h 823866"/>
              <a:gd name="connsiteX42" fmla="*/ 745402 w 829901"/>
              <a:gd name="connsiteY42" fmla="*/ 341014 h 823866"/>
              <a:gd name="connsiteX43" fmla="*/ 727295 w 829901"/>
              <a:gd name="connsiteY43" fmla="*/ 362139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15224 w 829901"/>
              <a:gd name="connsiteY46" fmla="*/ 371193 h 823866"/>
              <a:gd name="connsiteX47" fmla="*/ 721259 w 829901"/>
              <a:gd name="connsiteY47" fmla="*/ 316872 h 823866"/>
              <a:gd name="connsiteX48" fmla="*/ 718242 w 829901"/>
              <a:gd name="connsiteY48" fmla="*/ 301783 h 823866"/>
              <a:gd name="connsiteX49" fmla="*/ 730313 w 829901"/>
              <a:gd name="connsiteY49" fmla="*/ 265569 h 823866"/>
              <a:gd name="connsiteX50" fmla="*/ 727295 w 829901"/>
              <a:gd name="connsiteY50" fmla="*/ 226337 h 823866"/>
              <a:gd name="connsiteX51" fmla="*/ 703152 w 829901"/>
              <a:gd name="connsiteY51" fmla="*/ 193141 h 823866"/>
              <a:gd name="connsiteX52" fmla="*/ 697117 w 829901"/>
              <a:gd name="connsiteY52" fmla="*/ 178052 h 823866"/>
              <a:gd name="connsiteX53" fmla="*/ 706170 w 829901"/>
              <a:gd name="connsiteY53" fmla="*/ 162963 h 823866"/>
              <a:gd name="connsiteX54" fmla="*/ 709188 w 829901"/>
              <a:gd name="connsiteY54" fmla="*/ 147874 h 823866"/>
              <a:gd name="connsiteX55" fmla="*/ 691081 w 829901"/>
              <a:gd name="connsiteY55" fmla="*/ 147874 h 823866"/>
              <a:gd name="connsiteX56" fmla="*/ 672974 w 829901"/>
              <a:gd name="connsiteY56" fmla="*/ 147874 h 823866"/>
              <a:gd name="connsiteX57" fmla="*/ 654867 w 829901"/>
              <a:gd name="connsiteY57" fmla="*/ 117695 h 823866"/>
              <a:gd name="connsiteX58" fmla="*/ 615636 w 829901"/>
              <a:gd name="connsiteY58" fmla="*/ 117695 h 823866"/>
              <a:gd name="connsiteX59" fmla="*/ 564333 w 829901"/>
              <a:gd name="connsiteY59" fmla="*/ 111660 h 823866"/>
              <a:gd name="connsiteX60" fmla="*/ 497941 w 829901"/>
              <a:gd name="connsiteY60" fmla="*/ 99589 h 823866"/>
              <a:gd name="connsiteX61" fmla="*/ 443620 w 829901"/>
              <a:gd name="connsiteY61" fmla="*/ 99589 h 823866"/>
              <a:gd name="connsiteX62" fmla="*/ 401370 w 829901"/>
              <a:gd name="connsiteY62" fmla="*/ 93553 h 823866"/>
              <a:gd name="connsiteX63" fmla="*/ 347049 w 829901"/>
              <a:gd name="connsiteY63" fmla="*/ 72428 h 823866"/>
              <a:gd name="connsiteX64" fmla="*/ 328943 w 829901"/>
              <a:gd name="connsiteY64" fmla="*/ 48286 h 823866"/>
              <a:gd name="connsiteX65" fmla="*/ 250479 w 829901"/>
              <a:gd name="connsiteY65" fmla="*/ 51303 h 823866"/>
              <a:gd name="connsiteX66" fmla="*/ 235390 w 829901"/>
              <a:gd name="connsiteY66" fmla="*/ 0 h 823866"/>
              <a:gd name="connsiteX67" fmla="*/ 168998 w 829901"/>
              <a:gd name="connsiteY67" fmla="*/ 30179 h 823866"/>
              <a:gd name="connsiteX68" fmla="*/ 84499 w 829901"/>
              <a:gd name="connsiteY68" fmla="*/ 33196 h 823866"/>
              <a:gd name="connsiteX0" fmla="*/ 84499 w 829901"/>
              <a:gd name="connsiteY0" fmla="*/ 33196 h 823866"/>
              <a:gd name="connsiteX1" fmla="*/ 57339 w 829901"/>
              <a:gd name="connsiteY1" fmla="*/ 96571 h 823866"/>
              <a:gd name="connsiteX2" fmla="*/ 66392 w 829901"/>
              <a:gd name="connsiteY2" fmla="*/ 175034 h 823866"/>
              <a:gd name="connsiteX3" fmla="*/ 0 w 829901"/>
              <a:gd name="connsiteY3" fmla="*/ 259533 h 823866"/>
              <a:gd name="connsiteX4" fmla="*/ 33196 w 829901"/>
              <a:gd name="connsiteY4" fmla="*/ 301783 h 823866"/>
              <a:gd name="connsiteX5" fmla="*/ 45267 w 829901"/>
              <a:gd name="connsiteY5" fmla="*/ 331961 h 823866"/>
              <a:gd name="connsiteX6" fmla="*/ 27160 w 829901"/>
              <a:gd name="connsiteY6" fmla="*/ 380246 h 823866"/>
              <a:gd name="connsiteX7" fmla="*/ 36214 w 829901"/>
              <a:gd name="connsiteY7" fmla="*/ 446638 h 823866"/>
              <a:gd name="connsiteX8" fmla="*/ 75446 w 829901"/>
              <a:gd name="connsiteY8" fmla="*/ 449656 h 823866"/>
              <a:gd name="connsiteX9" fmla="*/ 100221 w 829901"/>
              <a:gd name="connsiteY9" fmla="*/ 468870 h 823866"/>
              <a:gd name="connsiteX10" fmla="*/ 138967 w 829901"/>
              <a:gd name="connsiteY10" fmla="*/ 486341 h 823866"/>
              <a:gd name="connsiteX11" fmla="*/ 175815 w 829901"/>
              <a:gd name="connsiteY11" fmla="*/ 538280 h 823866"/>
              <a:gd name="connsiteX12" fmla="*/ 220301 w 829901"/>
              <a:gd name="connsiteY12" fmla="*/ 537173 h 823866"/>
              <a:gd name="connsiteX13" fmla="*/ 249361 w 829901"/>
              <a:gd name="connsiteY13" fmla="*/ 585126 h 823866"/>
              <a:gd name="connsiteX14" fmla="*/ 277640 w 829901"/>
              <a:gd name="connsiteY14" fmla="*/ 564333 h 823866"/>
              <a:gd name="connsiteX15" fmla="*/ 292729 w 829901"/>
              <a:gd name="connsiteY15" fmla="*/ 618654 h 823866"/>
              <a:gd name="connsiteX16" fmla="*/ 292729 w 829901"/>
              <a:gd name="connsiteY16" fmla="*/ 636761 h 823866"/>
              <a:gd name="connsiteX17" fmla="*/ 301782 w 829901"/>
              <a:gd name="connsiteY17" fmla="*/ 666939 h 823866"/>
              <a:gd name="connsiteX18" fmla="*/ 298764 w 829901"/>
              <a:gd name="connsiteY18" fmla="*/ 682028 h 823866"/>
              <a:gd name="connsiteX19" fmla="*/ 304800 w 829901"/>
              <a:gd name="connsiteY19" fmla="*/ 697117 h 823866"/>
              <a:gd name="connsiteX20" fmla="*/ 301782 w 829901"/>
              <a:gd name="connsiteY20" fmla="*/ 763509 h 823866"/>
              <a:gd name="connsiteX21" fmla="*/ 337996 w 829901"/>
              <a:gd name="connsiteY21" fmla="*/ 793688 h 823866"/>
              <a:gd name="connsiteX22" fmla="*/ 380246 w 829901"/>
              <a:gd name="connsiteY22" fmla="*/ 808777 h 823866"/>
              <a:gd name="connsiteX23" fmla="*/ 404388 w 829901"/>
              <a:gd name="connsiteY23" fmla="*/ 823866 h 823866"/>
              <a:gd name="connsiteX24" fmla="*/ 473798 w 829901"/>
              <a:gd name="connsiteY24" fmla="*/ 808777 h 823866"/>
              <a:gd name="connsiteX25" fmla="*/ 790669 w 829901"/>
              <a:gd name="connsiteY25" fmla="*/ 751438 h 823866"/>
              <a:gd name="connsiteX26" fmla="*/ 802741 w 829901"/>
              <a:gd name="connsiteY26" fmla="*/ 751438 h 823866"/>
              <a:gd name="connsiteX27" fmla="*/ 802741 w 829901"/>
              <a:gd name="connsiteY27" fmla="*/ 688064 h 823866"/>
              <a:gd name="connsiteX28" fmla="*/ 766527 w 829901"/>
              <a:gd name="connsiteY28" fmla="*/ 579422 h 823866"/>
              <a:gd name="connsiteX29" fmla="*/ 772562 w 829901"/>
              <a:gd name="connsiteY29" fmla="*/ 522084 h 823866"/>
              <a:gd name="connsiteX30" fmla="*/ 757473 w 829901"/>
              <a:gd name="connsiteY30" fmla="*/ 473798 h 823866"/>
              <a:gd name="connsiteX31" fmla="*/ 778598 w 829901"/>
              <a:gd name="connsiteY31" fmla="*/ 443620 h 823866"/>
              <a:gd name="connsiteX32" fmla="*/ 781616 w 829901"/>
              <a:gd name="connsiteY32" fmla="*/ 407406 h 823866"/>
              <a:gd name="connsiteX33" fmla="*/ 772562 w 829901"/>
              <a:gd name="connsiteY33" fmla="*/ 353086 h 823866"/>
              <a:gd name="connsiteX34" fmla="*/ 811794 w 829901"/>
              <a:gd name="connsiteY34" fmla="*/ 292729 h 823866"/>
              <a:gd name="connsiteX35" fmla="*/ 829901 w 829901"/>
              <a:gd name="connsiteY35" fmla="*/ 226337 h 823866"/>
              <a:gd name="connsiteX36" fmla="*/ 823865 w 829901"/>
              <a:gd name="connsiteY36" fmla="*/ 220301 h 823866"/>
              <a:gd name="connsiteX37" fmla="*/ 805758 w 829901"/>
              <a:gd name="connsiteY37" fmla="*/ 235391 h 823866"/>
              <a:gd name="connsiteX38" fmla="*/ 787651 w 829901"/>
              <a:gd name="connsiteY38" fmla="*/ 271604 h 823866"/>
              <a:gd name="connsiteX39" fmla="*/ 769545 w 829901"/>
              <a:gd name="connsiteY39" fmla="*/ 307818 h 823866"/>
              <a:gd name="connsiteX40" fmla="*/ 751438 w 829901"/>
              <a:gd name="connsiteY40" fmla="*/ 316872 h 823866"/>
              <a:gd name="connsiteX41" fmla="*/ 745402 w 829901"/>
              <a:gd name="connsiteY41" fmla="*/ 341014 h 823866"/>
              <a:gd name="connsiteX42" fmla="*/ 727295 w 829901"/>
              <a:gd name="connsiteY42" fmla="*/ 362139 h 823866"/>
              <a:gd name="connsiteX43" fmla="*/ 715224 w 829901"/>
              <a:gd name="connsiteY43" fmla="*/ 371193 h 823866"/>
              <a:gd name="connsiteX44" fmla="*/ 715224 w 829901"/>
              <a:gd name="connsiteY44" fmla="*/ 371193 h 823866"/>
              <a:gd name="connsiteX45" fmla="*/ 715224 w 829901"/>
              <a:gd name="connsiteY45" fmla="*/ 371193 h 823866"/>
              <a:gd name="connsiteX46" fmla="*/ 721259 w 829901"/>
              <a:gd name="connsiteY46" fmla="*/ 316872 h 823866"/>
              <a:gd name="connsiteX47" fmla="*/ 718242 w 829901"/>
              <a:gd name="connsiteY47" fmla="*/ 301783 h 823866"/>
              <a:gd name="connsiteX48" fmla="*/ 730313 w 829901"/>
              <a:gd name="connsiteY48" fmla="*/ 265569 h 823866"/>
              <a:gd name="connsiteX49" fmla="*/ 727295 w 829901"/>
              <a:gd name="connsiteY49" fmla="*/ 226337 h 823866"/>
              <a:gd name="connsiteX50" fmla="*/ 703152 w 829901"/>
              <a:gd name="connsiteY50" fmla="*/ 193141 h 823866"/>
              <a:gd name="connsiteX51" fmla="*/ 697117 w 829901"/>
              <a:gd name="connsiteY51" fmla="*/ 178052 h 823866"/>
              <a:gd name="connsiteX52" fmla="*/ 706170 w 829901"/>
              <a:gd name="connsiteY52" fmla="*/ 162963 h 823866"/>
              <a:gd name="connsiteX53" fmla="*/ 709188 w 829901"/>
              <a:gd name="connsiteY53" fmla="*/ 147874 h 823866"/>
              <a:gd name="connsiteX54" fmla="*/ 691081 w 829901"/>
              <a:gd name="connsiteY54" fmla="*/ 147874 h 823866"/>
              <a:gd name="connsiteX55" fmla="*/ 672974 w 829901"/>
              <a:gd name="connsiteY55" fmla="*/ 147874 h 823866"/>
              <a:gd name="connsiteX56" fmla="*/ 654867 w 829901"/>
              <a:gd name="connsiteY56" fmla="*/ 117695 h 823866"/>
              <a:gd name="connsiteX57" fmla="*/ 615636 w 829901"/>
              <a:gd name="connsiteY57" fmla="*/ 117695 h 823866"/>
              <a:gd name="connsiteX58" fmla="*/ 564333 w 829901"/>
              <a:gd name="connsiteY58" fmla="*/ 111660 h 823866"/>
              <a:gd name="connsiteX59" fmla="*/ 497941 w 829901"/>
              <a:gd name="connsiteY59" fmla="*/ 99589 h 823866"/>
              <a:gd name="connsiteX60" fmla="*/ 443620 w 829901"/>
              <a:gd name="connsiteY60" fmla="*/ 99589 h 823866"/>
              <a:gd name="connsiteX61" fmla="*/ 401370 w 829901"/>
              <a:gd name="connsiteY61" fmla="*/ 93553 h 823866"/>
              <a:gd name="connsiteX62" fmla="*/ 347049 w 829901"/>
              <a:gd name="connsiteY62" fmla="*/ 72428 h 823866"/>
              <a:gd name="connsiteX63" fmla="*/ 328943 w 829901"/>
              <a:gd name="connsiteY63" fmla="*/ 48286 h 823866"/>
              <a:gd name="connsiteX64" fmla="*/ 250479 w 829901"/>
              <a:gd name="connsiteY64" fmla="*/ 51303 h 823866"/>
              <a:gd name="connsiteX65" fmla="*/ 235390 w 829901"/>
              <a:gd name="connsiteY65" fmla="*/ 0 h 823866"/>
              <a:gd name="connsiteX66" fmla="*/ 168998 w 829901"/>
              <a:gd name="connsiteY66" fmla="*/ 30179 h 823866"/>
              <a:gd name="connsiteX67" fmla="*/ 84499 w 829901"/>
              <a:gd name="connsiteY67" fmla="*/ 33196 h 823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829901" h="823866">
                <a:moveTo>
                  <a:pt x="84499" y="33196"/>
                </a:moveTo>
                <a:lnTo>
                  <a:pt x="57339" y="96571"/>
                </a:lnTo>
                <a:lnTo>
                  <a:pt x="66392" y="175034"/>
                </a:lnTo>
                <a:lnTo>
                  <a:pt x="0" y="259533"/>
                </a:lnTo>
                <a:lnTo>
                  <a:pt x="33196" y="301783"/>
                </a:lnTo>
                <a:lnTo>
                  <a:pt x="45267" y="331961"/>
                </a:lnTo>
                <a:lnTo>
                  <a:pt x="27160" y="380246"/>
                </a:lnTo>
                <a:lnTo>
                  <a:pt x="36214" y="446638"/>
                </a:lnTo>
                <a:lnTo>
                  <a:pt x="75446" y="449656"/>
                </a:lnTo>
                <a:lnTo>
                  <a:pt x="100221" y="468870"/>
                </a:lnTo>
                <a:lnTo>
                  <a:pt x="138967" y="486341"/>
                </a:lnTo>
                <a:lnTo>
                  <a:pt x="175815" y="538280"/>
                </a:lnTo>
                <a:lnTo>
                  <a:pt x="220301" y="537173"/>
                </a:lnTo>
                <a:lnTo>
                  <a:pt x="249361" y="585126"/>
                </a:lnTo>
                <a:lnTo>
                  <a:pt x="277640" y="564333"/>
                </a:lnTo>
                <a:lnTo>
                  <a:pt x="292729" y="618654"/>
                </a:lnTo>
                <a:lnTo>
                  <a:pt x="292729" y="636761"/>
                </a:lnTo>
                <a:lnTo>
                  <a:pt x="301782" y="666939"/>
                </a:lnTo>
                <a:lnTo>
                  <a:pt x="298764" y="682028"/>
                </a:lnTo>
                <a:lnTo>
                  <a:pt x="304800" y="697117"/>
                </a:lnTo>
                <a:lnTo>
                  <a:pt x="301782" y="763509"/>
                </a:lnTo>
                <a:lnTo>
                  <a:pt x="337996" y="793688"/>
                </a:lnTo>
                <a:lnTo>
                  <a:pt x="380246" y="808777"/>
                </a:lnTo>
                <a:lnTo>
                  <a:pt x="404388" y="823866"/>
                </a:lnTo>
                <a:lnTo>
                  <a:pt x="473798" y="808777"/>
                </a:lnTo>
                <a:lnTo>
                  <a:pt x="790669" y="751438"/>
                </a:lnTo>
                <a:lnTo>
                  <a:pt x="802741" y="751438"/>
                </a:lnTo>
                <a:lnTo>
                  <a:pt x="802741" y="688064"/>
                </a:lnTo>
                <a:lnTo>
                  <a:pt x="766527" y="579422"/>
                </a:lnTo>
                <a:lnTo>
                  <a:pt x="772562" y="522084"/>
                </a:lnTo>
                <a:lnTo>
                  <a:pt x="757473" y="473798"/>
                </a:lnTo>
                <a:lnTo>
                  <a:pt x="778598" y="443620"/>
                </a:lnTo>
                <a:lnTo>
                  <a:pt x="781616" y="407406"/>
                </a:lnTo>
                <a:lnTo>
                  <a:pt x="772562" y="353086"/>
                </a:lnTo>
                <a:lnTo>
                  <a:pt x="811794" y="292729"/>
                </a:lnTo>
                <a:lnTo>
                  <a:pt x="829901" y="226337"/>
                </a:lnTo>
                <a:lnTo>
                  <a:pt x="823865" y="220301"/>
                </a:lnTo>
                <a:lnTo>
                  <a:pt x="805758" y="235391"/>
                </a:lnTo>
                <a:lnTo>
                  <a:pt x="787651" y="271604"/>
                </a:lnTo>
                <a:lnTo>
                  <a:pt x="769545" y="307818"/>
                </a:lnTo>
                <a:lnTo>
                  <a:pt x="751438" y="316872"/>
                </a:lnTo>
                <a:lnTo>
                  <a:pt x="745402" y="341014"/>
                </a:lnTo>
                <a:lnTo>
                  <a:pt x="727295" y="362139"/>
                </a:lnTo>
                <a:lnTo>
                  <a:pt x="715224" y="371193"/>
                </a:lnTo>
                <a:lnTo>
                  <a:pt x="715224" y="371193"/>
                </a:lnTo>
                <a:lnTo>
                  <a:pt x="715224" y="371193"/>
                </a:lnTo>
                <a:lnTo>
                  <a:pt x="721259" y="316872"/>
                </a:lnTo>
                <a:lnTo>
                  <a:pt x="718242" y="301783"/>
                </a:lnTo>
                <a:lnTo>
                  <a:pt x="730313" y="265569"/>
                </a:lnTo>
                <a:lnTo>
                  <a:pt x="727295" y="226337"/>
                </a:lnTo>
                <a:lnTo>
                  <a:pt x="703152" y="193141"/>
                </a:lnTo>
                <a:lnTo>
                  <a:pt x="697117" y="178052"/>
                </a:lnTo>
                <a:lnTo>
                  <a:pt x="706170" y="162963"/>
                </a:lnTo>
                <a:lnTo>
                  <a:pt x="709188" y="147874"/>
                </a:lnTo>
                <a:lnTo>
                  <a:pt x="691081" y="147874"/>
                </a:lnTo>
                <a:lnTo>
                  <a:pt x="672974" y="147874"/>
                </a:lnTo>
                <a:lnTo>
                  <a:pt x="654867" y="117695"/>
                </a:lnTo>
                <a:lnTo>
                  <a:pt x="615636" y="117695"/>
                </a:lnTo>
                <a:lnTo>
                  <a:pt x="564333" y="111660"/>
                </a:lnTo>
                <a:lnTo>
                  <a:pt x="497941" y="99589"/>
                </a:lnTo>
                <a:lnTo>
                  <a:pt x="443620" y="99589"/>
                </a:lnTo>
                <a:lnTo>
                  <a:pt x="401370" y="93553"/>
                </a:lnTo>
                <a:lnTo>
                  <a:pt x="347049" y="72428"/>
                </a:lnTo>
                <a:lnTo>
                  <a:pt x="328943" y="48286"/>
                </a:lnTo>
                <a:lnTo>
                  <a:pt x="250479" y="51303"/>
                </a:lnTo>
                <a:lnTo>
                  <a:pt x="235390" y="0"/>
                </a:lnTo>
                <a:lnTo>
                  <a:pt x="168998" y="30179"/>
                </a:lnTo>
                <a:lnTo>
                  <a:pt x="84499" y="3319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5523314" y="3079292"/>
            <a:ext cx="595232" cy="1025255"/>
          </a:xfrm>
          <a:custGeom>
            <a:avLst/>
            <a:gdLst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89711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71192 w 615635"/>
              <a:gd name="connsiteY16" fmla="*/ 1029077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3798 w 615635"/>
              <a:gd name="connsiteY19" fmla="*/ 1017006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73386 w 615635"/>
              <a:gd name="connsiteY23" fmla="*/ 950614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67350 w 615635"/>
              <a:gd name="connsiteY29" fmla="*/ 784634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71192 w 615635"/>
              <a:gd name="connsiteY16" fmla="*/ 1029077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3798 w 615635"/>
              <a:gd name="connsiteY19" fmla="*/ 1017006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73386 w 615635"/>
              <a:gd name="connsiteY23" fmla="*/ 950614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67350 w 615635"/>
              <a:gd name="connsiteY29" fmla="*/ 784634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71192 w 615635"/>
              <a:gd name="connsiteY16" fmla="*/ 1029077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3798 w 615635"/>
              <a:gd name="connsiteY19" fmla="*/ 1017006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73386 w 615635"/>
              <a:gd name="connsiteY23" fmla="*/ 950614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71192 w 615635"/>
              <a:gd name="connsiteY16" fmla="*/ 1029077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3798 w 615635"/>
              <a:gd name="connsiteY19" fmla="*/ 1017006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71192 w 615635"/>
              <a:gd name="connsiteY16" fmla="*/ 1029077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8558 w 615635"/>
              <a:gd name="connsiteY19" fmla="*/ 1036038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208229 w 615635"/>
              <a:gd name="connsiteY13" fmla="*/ 811794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59292 w 615635"/>
              <a:gd name="connsiteY16" fmla="*/ 1043351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8558 w 615635"/>
              <a:gd name="connsiteY19" fmla="*/ 1036038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06582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196330 w 615635"/>
              <a:gd name="connsiteY13" fmla="*/ 814173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59292 w 615635"/>
              <a:gd name="connsiteY16" fmla="*/ 1043351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8558 w 615635"/>
              <a:gd name="connsiteY19" fmla="*/ 1036038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20855 h 1056238"/>
              <a:gd name="connsiteX8" fmla="*/ 114677 w 615635"/>
              <a:gd name="connsiteY8" fmla="*/ 636761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196330 w 615635"/>
              <a:gd name="connsiteY13" fmla="*/ 814173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59292 w 615635"/>
              <a:gd name="connsiteY16" fmla="*/ 1043351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8558 w 615635"/>
              <a:gd name="connsiteY19" fmla="*/ 1036038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  <a:gd name="connsiteX0" fmla="*/ 78463 w 615635"/>
              <a:gd name="connsiteY0" fmla="*/ 78464 h 1056238"/>
              <a:gd name="connsiteX1" fmla="*/ 147873 w 615635"/>
              <a:gd name="connsiteY1" fmla="*/ 159945 h 1056238"/>
              <a:gd name="connsiteX2" fmla="*/ 150891 w 615635"/>
              <a:gd name="connsiteY2" fmla="*/ 202194 h 1056238"/>
              <a:gd name="connsiteX3" fmla="*/ 93552 w 615635"/>
              <a:gd name="connsiteY3" fmla="*/ 280658 h 1056238"/>
              <a:gd name="connsiteX4" fmla="*/ 27160 w 615635"/>
              <a:gd name="connsiteY4" fmla="*/ 277816 h 1056238"/>
              <a:gd name="connsiteX5" fmla="*/ 54321 w 615635"/>
              <a:gd name="connsiteY5" fmla="*/ 356103 h 1056238"/>
              <a:gd name="connsiteX6" fmla="*/ 0 w 615635"/>
              <a:gd name="connsiteY6" fmla="*/ 431549 h 1056238"/>
              <a:gd name="connsiteX7" fmla="*/ 30178 w 615635"/>
              <a:gd name="connsiteY7" fmla="*/ 620855 h 1056238"/>
              <a:gd name="connsiteX8" fmla="*/ 109918 w 615635"/>
              <a:gd name="connsiteY8" fmla="*/ 648656 h 1056238"/>
              <a:gd name="connsiteX9" fmla="*/ 156926 w 615635"/>
              <a:gd name="connsiteY9" fmla="*/ 739367 h 1056238"/>
              <a:gd name="connsiteX10" fmla="*/ 196158 w 615635"/>
              <a:gd name="connsiteY10" fmla="*/ 727295 h 1056238"/>
              <a:gd name="connsiteX11" fmla="*/ 223319 w 615635"/>
              <a:gd name="connsiteY11" fmla="*/ 760491 h 1056238"/>
              <a:gd name="connsiteX12" fmla="*/ 205212 w 615635"/>
              <a:gd name="connsiteY12" fmla="*/ 793687 h 1056238"/>
              <a:gd name="connsiteX13" fmla="*/ 196330 w 615635"/>
              <a:gd name="connsiteY13" fmla="*/ 814173 h 1056238"/>
              <a:gd name="connsiteX14" fmla="*/ 247461 w 615635"/>
              <a:gd name="connsiteY14" fmla="*/ 902329 h 1056238"/>
              <a:gd name="connsiteX15" fmla="*/ 337996 w 615635"/>
              <a:gd name="connsiteY15" fmla="*/ 944578 h 1056238"/>
              <a:gd name="connsiteX16" fmla="*/ 359292 w 615635"/>
              <a:gd name="connsiteY16" fmla="*/ 1043351 h 1056238"/>
              <a:gd name="connsiteX17" fmla="*/ 431548 w 615635"/>
              <a:gd name="connsiteY17" fmla="*/ 1056238 h 1056238"/>
              <a:gd name="connsiteX18" fmla="*/ 437584 w 615635"/>
              <a:gd name="connsiteY18" fmla="*/ 1020024 h 1056238"/>
              <a:gd name="connsiteX19" fmla="*/ 478558 w 615635"/>
              <a:gd name="connsiteY19" fmla="*/ 1036038 h 1056238"/>
              <a:gd name="connsiteX20" fmla="*/ 525101 w 615635"/>
              <a:gd name="connsiteY20" fmla="*/ 1032095 h 1056238"/>
              <a:gd name="connsiteX21" fmla="*/ 534154 w 615635"/>
              <a:gd name="connsiteY21" fmla="*/ 1017006 h 1056238"/>
              <a:gd name="connsiteX22" fmla="*/ 525101 w 615635"/>
              <a:gd name="connsiteY22" fmla="*/ 983810 h 1056238"/>
              <a:gd name="connsiteX23" fmla="*/ 587665 w 615635"/>
              <a:gd name="connsiteY23" fmla="*/ 967266 h 1056238"/>
              <a:gd name="connsiteX24" fmla="*/ 579422 w 615635"/>
              <a:gd name="connsiteY24" fmla="*/ 920436 h 1056238"/>
              <a:gd name="connsiteX25" fmla="*/ 579422 w 615635"/>
              <a:gd name="connsiteY25" fmla="*/ 893275 h 1056238"/>
              <a:gd name="connsiteX26" fmla="*/ 573386 w 615635"/>
              <a:gd name="connsiteY26" fmla="*/ 866115 h 1056238"/>
              <a:gd name="connsiteX27" fmla="*/ 576404 w 615635"/>
              <a:gd name="connsiteY27" fmla="*/ 826883 h 1056238"/>
              <a:gd name="connsiteX28" fmla="*/ 579422 w 615635"/>
              <a:gd name="connsiteY28" fmla="*/ 802741 h 1056238"/>
              <a:gd name="connsiteX29" fmla="*/ 586390 w 615635"/>
              <a:gd name="connsiteY29" fmla="*/ 787012 h 1056238"/>
              <a:gd name="connsiteX30" fmla="*/ 603564 w 615635"/>
              <a:gd name="connsiteY30" fmla="*/ 748420 h 1056238"/>
              <a:gd name="connsiteX31" fmla="*/ 606582 w 615635"/>
              <a:gd name="connsiteY31" fmla="*/ 715224 h 1056238"/>
              <a:gd name="connsiteX32" fmla="*/ 615635 w 615635"/>
              <a:gd name="connsiteY32" fmla="*/ 703153 h 1056238"/>
              <a:gd name="connsiteX33" fmla="*/ 609600 w 615635"/>
              <a:gd name="connsiteY33" fmla="*/ 672974 h 1056238"/>
              <a:gd name="connsiteX34" fmla="*/ 597528 w 615635"/>
              <a:gd name="connsiteY34" fmla="*/ 624689 h 1056238"/>
              <a:gd name="connsiteX35" fmla="*/ 597528 w 615635"/>
              <a:gd name="connsiteY35" fmla="*/ 582440 h 1056238"/>
              <a:gd name="connsiteX36" fmla="*/ 615635 w 615635"/>
              <a:gd name="connsiteY36" fmla="*/ 519066 h 1056238"/>
              <a:gd name="connsiteX37" fmla="*/ 579422 w 615635"/>
              <a:gd name="connsiteY37" fmla="*/ 334978 h 1056238"/>
              <a:gd name="connsiteX38" fmla="*/ 570368 w 615635"/>
              <a:gd name="connsiteY38" fmla="*/ 307818 h 1056238"/>
              <a:gd name="connsiteX39" fmla="*/ 561315 w 615635"/>
              <a:gd name="connsiteY39" fmla="*/ 250479 h 1056238"/>
              <a:gd name="connsiteX40" fmla="*/ 552261 w 615635"/>
              <a:gd name="connsiteY40" fmla="*/ 202194 h 1056238"/>
              <a:gd name="connsiteX41" fmla="*/ 540190 w 615635"/>
              <a:gd name="connsiteY41" fmla="*/ 141838 h 1056238"/>
              <a:gd name="connsiteX42" fmla="*/ 531136 w 615635"/>
              <a:gd name="connsiteY42" fmla="*/ 126749 h 1056238"/>
              <a:gd name="connsiteX43" fmla="*/ 488887 w 615635"/>
              <a:gd name="connsiteY43" fmla="*/ 63374 h 1056238"/>
              <a:gd name="connsiteX44" fmla="*/ 479833 w 615635"/>
              <a:gd name="connsiteY44" fmla="*/ 21125 h 1056238"/>
              <a:gd name="connsiteX45" fmla="*/ 473798 w 615635"/>
              <a:gd name="connsiteY45" fmla="*/ 0 h 1056238"/>
              <a:gd name="connsiteX46" fmla="*/ 78463 w 615635"/>
              <a:gd name="connsiteY46" fmla="*/ 78464 h 105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615635" h="1056238">
                <a:moveTo>
                  <a:pt x="78463" y="78464"/>
                </a:moveTo>
                <a:lnTo>
                  <a:pt x="147873" y="159945"/>
                </a:lnTo>
                <a:lnTo>
                  <a:pt x="150891" y="202194"/>
                </a:lnTo>
                <a:lnTo>
                  <a:pt x="93552" y="280658"/>
                </a:lnTo>
                <a:lnTo>
                  <a:pt x="27160" y="277816"/>
                </a:lnTo>
                <a:lnTo>
                  <a:pt x="54321" y="356103"/>
                </a:lnTo>
                <a:lnTo>
                  <a:pt x="0" y="431549"/>
                </a:lnTo>
                <a:lnTo>
                  <a:pt x="30178" y="620855"/>
                </a:lnTo>
                <a:lnTo>
                  <a:pt x="109918" y="648656"/>
                </a:lnTo>
                <a:lnTo>
                  <a:pt x="156926" y="739367"/>
                </a:lnTo>
                <a:lnTo>
                  <a:pt x="196158" y="727295"/>
                </a:lnTo>
                <a:lnTo>
                  <a:pt x="223319" y="760491"/>
                </a:lnTo>
                <a:lnTo>
                  <a:pt x="205212" y="793687"/>
                </a:lnTo>
                <a:lnTo>
                  <a:pt x="196330" y="814173"/>
                </a:lnTo>
                <a:lnTo>
                  <a:pt x="247461" y="902329"/>
                </a:lnTo>
                <a:lnTo>
                  <a:pt x="337996" y="944578"/>
                </a:lnTo>
                <a:lnTo>
                  <a:pt x="359292" y="1043351"/>
                </a:lnTo>
                <a:lnTo>
                  <a:pt x="431548" y="1056238"/>
                </a:lnTo>
                <a:lnTo>
                  <a:pt x="437584" y="1020024"/>
                </a:lnTo>
                <a:lnTo>
                  <a:pt x="478558" y="1036038"/>
                </a:lnTo>
                <a:lnTo>
                  <a:pt x="525101" y="1032095"/>
                </a:lnTo>
                <a:lnTo>
                  <a:pt x="534154" y="1017006"/>
                </a:lnTo>
                <a:lnTo>
                  <a:pt x="525101" y="983810"/>
                </a:lnTo>
                <a:lnTo>
                  <a:pt x="587665" y="967266"/>
                </a:lnTo>
                <a:lnTo>
                  <a:pt x="579422" y="920436"/>
                </a:lnTo>
                <a:lnTo>
                  <a:pt x="579422" y="893275"/>
                </a:lnTo>
                <a:lnTo>
                  <a:pt x="573386" y="866115"/>
                </a:lnTo>
                <a:lnTo>
                  <a:pt x="576404" y="826883"/>
                </a:lnTo>
                <a:lnTo>
                  <a:pt x="579422" y="802741"/>
                </a:lnTo>
                <a:lnTo>
                  <a:pt x="586390" y="787012"/>
                </a:lnTo>
                <a:lnTo>
                  <a:pt x="603564" y="748420"/>
                </a:lnTo>
                <a:lnTo>
                  <a:pt x="606582" y="715224"/>
                </a:lnTo>
                <a:lnTo>
                  <a:pt x="615635" y="703153"/>
                </a:lnTo>
                <a:lnTo>
                  <a:pt x="609600" y="672974"/>
                </a:lnTo>
                <a:lnTo>
                  <a:pt x="597528" y="624689"/>
                </a:lnTo>
                <a:lnTo>
                  <a:pt x="597528" y="582440"/>
                </a:lnTo>
                <a:lnTo>
                  <a:pt x="615635" y="519066"/>
                </a:lnTo>
                <a:lnTo>
                  <a:pt x="579422" y="334978"/>
                </a:lnTo>
                <a:lnTo>
                  <a:pt x="570368" y="307818"/>
                </a:lnTo>
                <a:lnTo>
                  <a:pt x="561315" y="250479"/>
                </a:lnTo>
                <a:lnTo>
                  <a:pt x="552261" y="202194"/>
                </a:lnTo>
                <a:lnTo>
                  <a:pt x="540190" y="141838"/>
                </a:lnTo>
                <a:lnTo>
                  <a:pt x="531136" y="126749"/>
                </a:lnTo>
                <a:lnTo>
                  <a:pt x="488887" y="63374"/>
                </a:lnTo>
                <a:lnTo>
                  <a:pt x="479833" y="21125"/>
                </a:lnTo>
                <a:lnTo>
                  <a:pt x="473798" y="0"/>
                </a:lnTo>
                <a:lnTo>
                  <a:pt x="78463" y="7846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>
                  <a:lumMod val="75000"/>
                </a:schemeClr>
              </a:solidFill>
              <a:ea typeface="ＭＳ Ｐゴシック" charset="-128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6126216" y="4390879"/>
            <a:ext cx="575289" cy="945205"/>
          </a:xfrm>
          <a:custGeom>
            <a:avLst/>
            <a:gdLst>
              <a:gd name="connsiteX0" fmla="*/ 0 w 594511"/>
              <a:gd name="connsiteY0" fmla="*/ 84499 h 974757"/>
              <a:gd name="connsiteX1" fmla="*/ 69410 w 594511"/>
              <a:gd name="connsiteY1" fmla="*/ 962686 h 974757"/>
              <a:gd name="connsiteX2" fmla="*/ 87517 w 594511"/>
              <a:gd name="connsiteY2" fmla="*/ 962686 h 974757"/>
              <a:gd name="connsiteX3" fmla="*/ 111659 w 594511"/>
              <a:gd name="connsiteY3" fmla="*/ 962686 h 974757"/>
              <a:gd name="connsiteX4" fmla="*/ 132784 w 594511"/>
              <a:gd name="connsiteY4" fmla="*/ 941561 h 974757"/>
              <a:gd name="connsiteX5" fmla="*/ 129766 w 594511"/>
              <a:gd name="connsiteY5" fmla="*/ 902329 h 974757"/>
              <a:gd name="connsiteX6" fmla="*/ 184087 w 594511"/>
              <a:gd name="connsiteY6" fmla="*/ 974757 h 974757"/>
              <a:gd name="connsiteX7" fmla="*/ 220301 w 594511"/>
              <a:gd name="connsiteY7" fmla="*/ 959668 h 974757"/>
              <a:gd name="connsiteX8" fmla="*/ 217283 w 594511"/>
              <a:gd name="connsiteY8" fmla="*/ 908365 h 974757"/>
              <a:gd name="connsiteX9" fmla="*/ 214265 w 594511"/>
              <a:gd name="connsiteY9" fmla="*/ 878187 h 974757"/>
              <a:gd name="connsiteX10" fmla="*/ 193140 w 594511"/>
              <a:gd name="connsiteY10" fmla="*/ 851026 h 974757"/>
              <a:gd name="connsiteX11" fmla="*/ 588475 w 594511"/>
              <a:gd name="connsiteY11" fmla="*/ 751438 h 974757"/>
              <a:gd name="connsiteX12" fmla="*/ 591493 w 594511"/>
              <a:gd name="connsiteY12" fmla="*/ 685046 h 974757"/>
              <a:gd name="connsiteX13" fmla="*/ 582439 w 594511"/>
              <a:gd name="connsiteY13" fmla="*/ 633743 h 974757"/>
              <a:gd name="connsiteX14" fmla="*/ 588475 w 594511"/>
              <a:gd name="connsiteY14" fmla="*/ 585458 h 974757"/>
              <a:gd name="connsiteX15" fmla="*/ 570368 w 594511"/>
              <a:gd name="connsiteY15" fmla="*/ 528119 h 974757"/>
              <a:gd name="connsiteX16" fmla="*/ 576404 w 594511"/>
              <a:gd name="connsiteY16" fmla="*/ 510012 h 974757"/>
              <a:gd name="connsiteX17" fmla="*/ 594511 w 594511"/>
              <a:gd name="connsiteY17" fmla="*/ 488888 h 974757"/>
              <a:gd name="connsiteX18" fmla="*/ 588475 w 594511"/>
              <a:gd name="connsiteY18" fmla="*/ 467763 h 974757"/>
              <a:gd name="connsiteX19" fmla="*/ 543208 w 594511"/>
              <a:gd name="connsiteY19" fmla="*/ 425513 h 974757"/>
              <a:gd name="connsiteX20" fmla="*/ 470780 w 594511"/>
              <a:gd name="connsiteY20" fmla="*/ 162963 h 974757"/>
              <a:gd name="connsiteX21" fmla="*/ 449655 w 594511"/>
              <a:gd name="connsiteY21" fmla="*/ 111660 h 974757"/>
              <a:gd name="connsiteX22" fmla="*/ 410424 w 594511"/>
              <a:gd name="connsiteY22" fmla="*/ 0 h 974757"/>
              <a:gd name="connsiteX23" fmla="*/ 202194 w 594511"/>
              <a:gd name="connsiteY23" fmla="*/ 51303 h 974757"/>
              <a:gd name="connsiteX24" fmla="*/ 114677 w 594511"/>
              <a:gd name="connsiteY24" fmla="*/ 66392 h 974757"/>
              <a:gd name="connsiteX25" fmla="*/ 96570 w 594511"/>
              <a:gd name="connsiteY25" fmla="*/ 51303 h 974757"/>
              <a:gd name="connsiteX26" fmla="*/ 0 w 594511"/>
              <a:gd name="connsiteY26" fmla="*/ 84499 h 974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4511" h="974757">
                <a:moveTo>
                  <a:pt x="0" y="84499"/>
                </a:moveTo>
                <a:lnTo>
                  <a:pt x="69410" y="962686"/>
                </a:lnTo>
                <a:lnTo>
                  <a:pt x="87517" y="962686"/>
                </a:lnTo>
                <a:lnTo>
                  <a:pt x="111659" y="962686"/>
                </a:lnTo>
                <a:lnTo>
                  <a:pt x="132784" y="941561"/>
                </a:lnTo>
                <a:lnTo>
                  <a:pt x="129766" y="902329"/>
                </a:lnTo>
                <a:lnTo>
                  <a:pt x="184087" y="974757"/>
                </a:lnTo>
                <a:lnTo>
                  <a:pt x="220301" y="959668"/>
                </a:lnTo>
                <a:lnTo>
                  <a:pt x="217283" y="908365"/>
                </a:lnTo>
                <a:lnTo>
                  <a:pt x="214265" y="878187"/>
                </a:lnTo>
                <a:lnTo>
                  <a:pt x="193140" y="851026"/>
                </a:lnTo>
                <a:lnTo>
                  <a:pt x="588475" y="751438"/>
                </a:lnTo>
                <a:lnTo>
                  <a:pt x="591493" y="685046"/>
                </a:lnTo>
                <a:lnTo>
                  <a:pt x="582439" y="633743"/>
                </a:lnTo>
                <a:lnTo>
                  <a:pt x="588475" y="585458"/>
                </a:lnTo>
                <a:lnTo>
                  <a:pt x="570368" y="528119"/>
                </a:lnTo>
                <a:lnTo>
                  <a:pt x="576404" y="510012"/>
                </a:lnTo>
                <a:lnTo>
                  <a:pt x="594511" y="488888"/>
                </a:lnTo>
                <a:lnTo>
                  <a:pt x="588475" y="467763"/>
                </a:lnTo>
                <a:lnTo>
                  <a:pt x="543208" y="425513"/>
                </a:lnTo>
                <a:lnTo>
                  <a:pt x="470780" y="162963"/>
                </a:lnTo>
                <a:lnTo>
                  <a:pt x="449655" y="111660"/>
                </a:lnTo>
                <a:lnTo>
                  <a:pt x="410424" y="0"/>
                </a:lnTo>
                <a:lnTo>
                  <a:pt x="202194" y="51303"/>
                </a:lnTo>
                <a:lnTo>
                  <a:pt x="114677" y="66392"/>
                </a:lnTo>
                <a:lnTo>
                  <a:pt x="96570" y="51303"/>
                </a:lnTo>
                <a:lnTo>
                  <a:pt x="0" y="8449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6517413" y="4306211"/>
            <a:ext cx="799266" cy="845143"/>
          </a:xfrm>
          <a:custGeom>
            <a:avLst/>
            <a:gdLst>
              <a:gd name="connsiteX0" fmla="*/ 0 w 832919"/>
              <a:gd name="connsiteY0" fmla="*/ 87516 h 872150"/>
              <a:gd name="connsiteX1" fmla="*/ 69410 w 832919"/>
              <a:gd name="connsiteY1" fmla="*/ 262550 h 872150"/>
              <a:gd name="connsiteX2" fmla="*/ 141838 w 832919"/>
              <a:gd name="connsiteY2" fmla="*/ 510011 h 872150"/>
              <a:gd name="connsiteX3" fmla="*/ 187105 w 832919"/>
              <a:gd name="connsiteY3" fmla="*/ 576404 h 872150"/>
              <a:gd name="connsiteX4" fmla="*/ 165980 w 832919"/>
              <a:gd name="connsiteY4" fmla="*/ 618653 h 872150"/>
              <a:gd name="connsiteX5" fmla="*/ 175034 w 832919"/>
              <a:gd name="connsiteY5" fmla="*/ 672974 h 872150"/>
              <a:gd name="connsiteX6" fmla="*/ 184087 w 832919"/>
              <a:gd name="connsiteY6" fmla="*/ 688063 h 872150"/>
              <a:gd name="connsiteX7" fmla="*/ 178051 w 832919"/>
              <a:gd name="connsiteY7" fmla="*/ 733330 h 872150"/>
              <a:gd name="connsiteX8" fmla="*/ 187105 w 832919"/>
              <a:gd name="connsiteY8" fmla="*/ 781615 h 872150"/>
              <a:gd name="connsiteX9" fmla="*/ 175034 w 832919"/>
              <a:gd name="connsiteY9" fmla="*/ 829901 h 872150"/>
              <a:gd name="connsiteX10" fmla="*/ 259533 w 832919"/>
              <a:gd name="connsiteY10" fmla="*/ 872150 h 872150"/>
              <a:gd name="connsiteX11" fmla="*/ 383263 w 832919"/>
              <a:gd name="connsiteY11" fmla="*/ 863097 h 872150"/>
              <a:gd name="connsiteX12" fmla="*/ 645814 w 832919"/>
              <a:gd name="connsiteY12" fmla="*/ 826883 h 872150"/>
              <a:gd name="connsiteX13" fmla="*/ 700135 w 832919"/>
              <a:gd name="connsiteY13" fmla="*/ 851025 h 872150"/>
              <a:gd name="connsiteX14" fmla="*/ 706170 w 832919"/>
              <a:gd name="connsiteY14" fmla="*/ 772562 h 872150"/>
              <a:gd name="connsiteX15" fmla="*/ 724277 w 832919"/>
              <a:gd name="connsiteY15" fmla="*/ 751437 h 872150"/>
              <a:gd name="connsiteX16" fmla="*/ 781616 w 832919"/>
              <a:gd name="connsiteY16" fmla="*/ 766526 h 872150"/>
              <a:gd name="connsiteX17" fmla="*/ 805758 w 832919"/>
              <a:gd name="connsiteY17" fmla="*/ 757473 h 872150"/>
              <a:gd name="connsiteX18" fmla="*/ 784634 w 832919"/>
              <a:gd name="connsiteY18" fmla="*/ 651849 h 872150"/>
              <a:gd name="connsiteX19" fmla="*/ 796705 w 832919"/>
              <a:gd name="connsiteY19" fmla="*/ 642796 h 872150"/>
              <a:gd name="connsiteX20" fmla="*/ 796705 w 832919"/>
              <a:gd name="connsiteY20" fmla="*/ 585457 h 872150"/>
              <a:gd name="connsiteX21" fmla="*/ 817830 w 832919"/>
              <a:gd name="connsiteY21" fmla="*/ 519065 h 872150"/>
              <a:gd name="connsiteX22" fmla="*/ 832919 w 832919"/>
              <a:gd name="connsiteY22" fmla="*/ 482851 h 872150"/>
              <a:gd name="connsiteX23" fmla="*/ 832919 w 832919"/>
              <a:gd name="connsiteY23" fmla="*/ 464744 h 872150"/>
              <a:gd name="connsiteX24" fmla="*/ 805758 w 832919"/>
              <a:gd name="connsiteY24" fmla="*/ 461726 h 872150"/>
              <a:gd name="connsiteX25" fmla="*/ 793687 w 832919"/>
              <a:gd name="connsiteY25" fmla="*/ 431548 h 872150"/>
              <a:gd name="connsiteX26" fmla="*/ 724277 w 832919"/>
              <a:gd name="connsiteY26" fmla="*/ 359120 h 872150"/>
              <a:gd name="connsiteX27" fmla="*/ 712206 w 832919"/>
              <a:gd name="connsiteY27" fmla="*/ 307817 h 872150"/>
              <a:gd name="connsiteX28" fmla="*/ 636760 w 832919"/>
              <a:gd name="connsiteY28" fmla="*/ 271604 h 872150"/>
              <a:gd name="connsiteX29" fmla="*/ 564333 w 832919"/>
              <a:gd name="connsiteY29" fmla="*/ 196158 h 872150"/>
              <a:gd name="connsiteX30" fmla="*/ 531137 w 832919"/>
              <a:gd name="connsiteY30" fmla="*/ 175033 h 872150"/>
              <a:gd name="connsiteX31" fmla="*/ 488887 w 832919"/>
              <a:gd name="connsiteY31" fmla="*/ 156926 h 872150"/>
              <a:gd name="connsiteX32" fmla="*/ 470780 w 832919"/>
              <a:gd name="connsiteY32" fmla="*/ 150891 h 872150"/>
              <a:gd name="connsiteX33" fmla="*/ 434566 w 832919"/>
              <a:gd name="connsiteY33" fmla="*/ 99588 h 872150"/>
              <a:gd name="connsiteX34" fmla="*/ 377228 w 832919"/>
              <a:gd name="connsiteY34" fmla="*/ 63374 h 872150"/>
              <a:gd name="connsiteX35" fmla="*/ 371192 w 832919"/>
              <a:gd name="connsiteY35" fmla="*/ 36213 h 872150"/>
              <a:gd name="connsiteX36" fmla="*/ 371192 w 832919"/>
              <a:gd name="connsiteY36" fmla="*/ 0 h 872150"/>
              <a:gd name="connsiteX37" fmla="*/ 205212 w 832919"/>
              <a:gd name="connsiteY37" fmla="*/ 45267 h 872150"/>
              <a:gd name="connsiteX38" fmla="*/ 0 w 832919"/>
              <a:gd name="connsiteY38" fmla="*/ 87516 h 872150"/>
              <a:gd name="connsiteX0" fmla="*/ 0 w 832919"/>
              <a:gd name="connsiteY0" fmla="*/ 87516 h 872150"/>
              <a:gd name="connsiteX1" fmla="*/ 69410 w 832919"/>
              <a:gd name="connsiteY1" fmla="*/ 262550 h 872150"/>
              <a:gd name="connsiteX2" fmla="*/ 141838 w 832919"/>
              <a:gd name="connsiteY2" fmla="*/ 510011 h 872150"/>
              <a:gd name="connsiteX3" fmla="*/ 187105 w 832919"/>
              <a:gd name="connsiteY3" fmla="*/ 576404 h 872150"/>
              <a:gd name="connsiteX4" fmla="*/ 165980 w 832919"/>
              <a:gd name="connsiteY4" fmla="*/ 618653 h 872150"/>
              <a:gd name="connsiteX5" fmla="*/ 175034 w 832919"/>
              <a:gd name="connsiteY5" fmla="*/ 672974 h 872150"/>
              <a:gd name="connsiteX6" fmla="*/ 184087 w 832919"/>
              <a:gd name="connsiteY6" fmla="*/ 688063 h 872150"/>
              <a:gd name="connsiteX7" fmla="*/ 178051 w 832919"/>
              <a:gd name="connsiteY7" fmla="*/ 733330 h 872150"/>
              <a:gd name="connsiteX8" fmla="*/ 187105 w 832919"/>
              <a:gd name="connsiteY8" fmla="*/ 781615 h 872150"/>
              <a:gd name="connsiteX9" fmla="*/ 172655 w 832919"/>
              <a:gd name="connsiteY9" fmla="*/ 848965 h 872150"/>
              <a:gd name="connsiteX10" fmla="*/ 259533 w 832919"/>
              <a:gd name="connsiteY10" fmla="*/ 872150 h 872150"/>
              <a:gd name="connsiteX11" fmla="*/ 383263 w 832919"/>
              <a:gd name="connsiteY11" fmla="*/ 863097 h 872150"/>
              <a:gd name="connsiteX12" fmla="*/ 645814 w 832919"/>
              <a:gd name="connsiteY12" fmla="*/ 826883 h 872150"/>
              <a:gd name="connsiteX13" fmla="*/ 700135 w 832919"/>
              <a:gd name="connsiteY13" fmla="*/ 851025 h 872150"/>
              <a:gd name="connsiteX14" fmla="*/ 706170 w 832919"/>
              <a:gd name="connsiteY14" fmla="*/ 772562 h 872150"/>
              <a:gd name="connsiteX15" fmla="*/ 724277 w 832919"/>
              <a:gd name="connsiteY15" fmla="*/ 751437 h 872150"/>
              <a:gd name="connsiteX16" fmla="*/ 781616 w 832919"/>
              <a:gd name="connsiteY16" fmla="*/ 766526 h 872150"/>
              <a:gd name="connsiteX17" fmla="*/ 805758 w 832919"/>
              <a:gd name="connsiteY17" fmla="*/ 757473 h 872150"/>
              <a:gd name="connsiteX18" fmla="*/ 784634 w 832919"/>
              <a:gd name="connsiteY18" fmla="*/ 651849 h 872150"/>
              <a:gd name="connsiteX19" fmla="*/ 796705 w 832919"/>
              <a:gd name="connsiteY19" fmla="*/ 642796 h 872150"/>
              <a:gd name="connsiteX20" fmla="*/ 796705 w 832919"/>
              <a:gd name="connsiteY20" fmla="*/ 585457 h 872150"/>
              <a:gd name="connsiteX21" fmla="*/ 817830 w 832919"/>
              <a:gd name="connsiteY21" fmla="*/ 519065 h 872150"/>
              <a:gd name="connsiteX22" fmla="*/ 832919 w 832919"/>
              <a:gd name="connsiteY22" fmla="*/ 482851 h 872150"/>
              <a:gd name="connsiteX23" fmla="*/ 832919 w 832919"/>
              <a:gd name="connsiteY23" fmla="*/ 464744 h 872150"/>
              <a:gd name="connsiteX24" fmla="*/ 805758 w 832919"/>
              <a:gd name="connsiteY24" fmla="*/ 461726 h 872150"/>
              <a:gd name="connsiteX25" fmla="*/ 793687 w 832919"/>
              <a:gd name="connsiteY25" fmla="*/ 431548 h 872150"/>
              <a:gd name="connsiteX26" fmla="*/ 724277 w 832919"/>
              <a:gd name="connsiteY26" fmla="*/ 359120 h 872150"/>
              <a:gd name="connsiteX27" fmla="*/ 712206 w 832919"/>
              <a:gd name="connsiteY27" fmla="*/ 307817 h 872150"/>
              <a:gd name="connsiteX28" fmla="*/ 636760 w 832919"/>
              <a:gd name="connsiteY28" fmla="*/ 271604 h 872150"/>
              <a:gd name="connsiteX29" fmla="*/ 564333 w 832919"/>
              <a:gd name="connsiteY29" fmla="*/ 196158 h 872150"/>
              <a:gd name="connsiteX30" fmla="*/ 531137 w 832919"/>
              <a:gd name="connsiteY30" fmla="*/ 175033 h 872150"/>
              <a:gd name="connsiteX31" fmla="*/ 488887 w 832919"/>
              <a:gd name="connsiteY31" fmla="*/ 156926 h 872150"/>
              <a:gd name="connsiteX32" fmla="*/ 470780 w 832919"/>
              <a:gd name="connsiteY32" fmla="*/ 150891 h 872150"/>
              <a:gd name="connsiteX33" fmla="*/ 434566 w 832919"/>
              <a:gd name="connsiteY33" fmla="*/ 99588 h 872150"/>
              <a:gd name="connsiteX34" fmla="*/ 377228 w 832919"/>
              <a:gd name="connsiteY34" fmla="*/ 63374 h 872150"/>
              <a:gd name="connsiteX35" fmla="*/ 371192 w 832919"/>
              <a:gd name="connsiteY35" fmla="*/ 36213 h 872150"/>
              <a:gd name="connsiteX36" fmla="*/ 371192 w 832919"/>
              <a:gd name="connsiteY36" fmla="*/ 0 h 872150"/>
              <a:gd name="connsiteX37" fmla="*/ 205212 w 832919"/>
              <a:gd name="connsiteY37" fmla="*/ 45267 h 872150"/>
              <a:gd name="connsiteX38" fmla="*/ 0 w 832919"/>
              <a:gd name="connsiteY38" fmla="*/ 87516 h 872150"/>
              <a:gd name="connsiteX0" fmla="*/ 0 w 832919"/>
              <a:gd name="connsiteY0" fmla="*/ 87516 h 872150"/>
              <a:gd name="connsiteX1" fmla="*/ 69410 w 832919"/>
              <a:gd name="connsiteY1" fmla="*/ 262550 h 872150"/>
              <a:gd name="connsiteX2" fmla="*/ 141838 w 832919"/>
              <a:gd name="connsiteY2" fmla="*/ 510011 h 872150"/>
              <a:gd name="connsiteX3" fmla="*/ 187105 w 832919"/>
              <a:gd name="connsiteY3" fmla="*/ 576404 h 872150"/>
              <a:gd name="connsiteX4" fmla="*/ 165980 w 832919"/>
              <a:gd name="connsiteY4" fmla="*/ 618653 h 872150"/>
              <a:gd name="connsiteX5" fmla="*/ 175034 w 832919"/>
              <a:gd name="connsiteY5" fmla="*/ 672974 h 872150"/>
              <a:gd name="connsiteX6" fmla="*/ 184087 w 832919"/>
              <a:gd name="connsiteY6" fmla="*/ 688063 h 872150"/>
              <a:gd name="connsiteX7" fmla="*/ 178051 w 832919"/>
              <a:gd name="connsiteY7" fmla="*/ 733330 h 872150"/>
              <a:gd name="connsiteX8" fmla="*/ 187105 w 832919"/>
              <a:gd name="connsiteY8" fmla="*/ 781615 h 872150"/>
              <a:gd name="connsiteX9" fmla="*/ 172655 w 832919"/>
              <a:gd name="connsiteY9" fmla="*/ 848965 h 872150"/>
              <a:gd name="connsiteX10" fmla="*/ 259533 w 832919"/>
              <a:gd name="connsiteY10" fmla="*/ 872150 h 872150"/>
              <a:gd name="connsiteX11" fmla="*/ 383263 w 832919"/>
              <a:gd name="connsiteY11" fmla="*/ 863097 h 872150"/>
              <a:gd name="connsiteX12" fmla="*/ 652953 w 832919"/>
              <a:gd name="connsiteY12" fmla="*/ 841180 h 872150"/>
              <a:gd name="connsiteX13" fmla="*/ 700135 w 832919"/>
              <a:gd name="connsiteY13" fmla="*/ 851025 h 872150"/>
              <a:gd name="connsiteX14" fmla="*/ 706170 w 832919"/>
              <a:gd name="connsiteY14" fmla="*/ 772562 h 872150"/>
              <a:gd name="connsiteX15" fmla="*/ 724277 w 832919"/>
              <a:gd name="connsiteY15" fmla="*/ 751437 h 872150"/>
              <a:gd name="connsiteX16" fmla="*/ 781616 w 832919"/>
              <a:gd name="connsiteY16" fmla="*/ 766526 h 872150"/>
              <a:gd name="connsiteX17" fmla="*/ 805758 w 832919"/>
              <a:gd name="connsiteY17" fmla="*/ 757473 h 872150"/>
              <a:gd name="connsiteX18" fmla="*/ 784634 w 832919"/>
              <a:gd name="connsiteY18" fmla="*/ 651849 h 872150"/>
              <a:gd name="connsiteX19" fmla="*/ 796705 w 832919"/>
              <a:gd name="connsiteY19" fmla="*/ 642796 h 872150"/>
              <a:gd name="connsiteX20" fmla="*/ 796705 w 832919"/>
              <a:gd name="connsiteY20" fmla="*/ 585457 h 872150"/>
              <a:gd name="connsiteX21" fmla="*/ 817830 w 832919"/>
              <a:gd name="connsiteY21" fmla="*/ 519065 h 872150"/>
              <a:gd name="connsiteX22" fmla="*/ 832919 w 832919"/>
              <a:gd name="connsiteY22" fmla="*/ 482851 h 872150"/>
              <a:gd name="connsiteX23" fmla="*/ 832919 w 832919"/>
              <a:gd name="connsiteY23" fmla="*/ 464744 h 872150"/>
              <a:gd name="connsiteX24" fmla="*/ 805758 w 832919"/>
              <a:gd name="connsiteY24" fmla="*/ 461726 h 872150"/>
              <a:gd name="connsiteX25" fmla="*/ 793687 w 832919"/>
              <a:gd name="connsiteY25" fmla="*/ 431548 h 872150"/>
              <a:gd name="connsiteX26" fmla="*/ 724277 w 832919"/>
              <a:gd name="connsiteY26" fmla="*/ 359120 h 872150"/>
              <a:gd name="connsiteX27" fmla="*/ 712206 w 832919"/>
              <a:gd name="connsiteY27" fmla="*/ 307817 h 872150"/>
              <a:gd name="connsiteX28" fmla="*/ 636760 w 832919"/>
              <a:gd name="connsiteY28" fmla="*/ 271604 h 872150"/>
              <a:gd name="connsiteX29" fmla="*/ 564333 w 832919"/>
              <a:gd name="connsiteY29" fmla="*/ 196158 h 872150"/>
              <a:gd name="connsiteX30" fmla="*/ 531137 w 832919"/>
              <a:gd name="connsiteY30" fmla="*/ 175033 h 872150"/>
              <a:gd name="connsiteX31" fmla="*/ 488887 w 832919"/>
              <a:gd name="connsiteY31" fmla="*/ 156926 h 872150"/>
              <a:gd name="connsiteX32" fmla="*/ 470780 w 832919"/>
              <a:gd name="connsiteY32" fmla="*/ 150891 h 872150"/>
              <a:gd name="connsiteX33" fmla="*/ 434566 w 832919"/>
              <a:gd name="connsiteY33" fmla="*/ 99588 h 872150"/>
              <a:gd name="connsiteX34" fmla="*/ 377228 w 832919"/>
              <a:gd name="connsiteY34" fmla="*/ 63374 h 872150"/>
              <a:gd name="connsiteX35" fmla="*/ 371192 w 832919"/>
              <a:gd name="connsiteY35" fmla="*/ 36213 h 872150"/>
              <a:gd name="connsiteX36" fmla="*/ 371192 w 832919"/>
              <a:gd name="connsiteY36" fmla="*/ 0 h 872150"/>
              <a:gd name="connsiteX37" fmla="*/ 205212 w 832919"/>
              <a:gd name="connsiteY37" fmla="*/ 45267 h 872150"/>
              <a:gd name="connsiteX38" fmla="*/ 0 w 832919"/>
              <a:gd name="connsiteY38" fmla="*/ 87516 h 872150"/>
              <a:gd name="connsiteX0" fmla="*/ 0 w 832919"/>
              <a:gd name="connsiteY0" fmla="*/ 87516 h 872150"/>
              <a:gd name="connsiteX1" fmla="*/ 69410 w 832919"/>
              <a:gd name="connsiteY1" fmla="*/ 262550 h 872150"/>
              <a:gd name="connsiteX2" fmla="*/ 141838 w 832919"/>
              <a:gd name="connsiteY2" fmla="*/ 510011 h 872150"/>
              <a:gd name="connsiteX3" fmla="*/ 187105 w 832919"/>
              <a:gd name="connsiteY3" fmla="*/ 576404 h 872150"/>
              <a:gd name="connsiteX4" fmla="*/ 165980 w 832919"/>
              <a:gd name="connsiteY4" fmla="*/ 618653 h 872150"/>
              <a:gd name="connsiteX5" fmla="*/ 175034 w 832919"/>
              <a:gd name="connsiteY5" fmla="*/ 672974 h 872150"/>
              <a:gd name="connsiteX6" fmla="*/ 184087 w 832919"/>
              <a:gd name="connsiteY6" fmla="*/ 688063 h 872150"/>
              <a:gd name="connsiteX7" fmla="*/ 178051 w 832919"/>
              <a:gd name="connsiteY7" fmla="*/ 733330 h 872150"/>
              <a:gd name="connsiteX8" fmla="*/ 187105 w 832919"/>
              <a:gd name="connsiteY8" fmla="*/ 781615 h 872150"/>
              <a:gd name="connsiteX9" fmla="*/ 172655 w 832919"/>
              <a:gd name="connsiteY9" fmla="*/ 848965 h 872150"/>
              <a:gd name="connsiteX10" fmla="*/ 259533 w 832919"/>
              <a:gd name="connsiteY10" fmla="*/ 872150 h 872150"/>
              <a:gd name="connsiteX11" fmla="*/ 383263 w 832919"/>
              <a:gd name="connsiteY11" fmla="*/ 863097 h 872150"/>
              <a:gd name="connsiteX12" fmla="*/ 652953 w 832919"/>
              <a:gd name="connsiteY12" fmla="*/ 841180 h 872150"/>
              <a:gd name="connsiteX13" fmla="*/ 700135 w 832919"/>
              <a:gd name="connsiteY13" fmla="*/ 851025 h 872150"/>
              <a:gd name="connsiteX14" fmla="*/ 706170 w 832919"/>
              <a:gd name="connsiteY14" fmla="*/ 772562 h 872150"/>
              <a:gd name="connsiteX15" fmla="*/ 724277 w 832919"/>
              <a:gd name="connsiteY15" fmla="*/ 751437 h 872150"/>
              <a:gd name="connsiteX16" fmla="*/ 764958 w 832919"/>
              <a:gd name="connsiteY16" fmla="*/ 776057 h 872150"/>
              <a:gd name="connsiteX17" fmla="*/ 805758 w 832919"/>
              <a:gd name="connsiteY17" fmla="*/ 757473 h 872150"/>
              <a:gd name="connsiteX18" fmla="*/ 784634 w 832919"/>
              <a:gd name="connsiteY18" fmla="*/ 651849 h 872150"/>
              <a:gd name="connsiteX19" fmla="*/ 796705 w 832919"/>
              <a:gd name="connsiteY19" fmla="*/ 642796 h 872150"/>
              <a:gd name="connsiteX20" fmla="*/ 796705 w 832919"/>
              <a:gd name="connsiteY20" fmla="*/ 585457 h 872150"/>
              <a:gd name="connsiteX21" fmla="*/ 817830 w 832919"/>
              <a:gd name="connsiteY21" fmla="*/ 519065 h 872150"/>
              <a:gd name="connsiteX22" fmla="*/ 832919 w 832919"/>
              <a:gd name="connsiteY22" fmla="*/ 482851 h 872150"/>
              <a:gd name="connsiteX23" fmla="*/ 832919 w 832919"/>
              <a:gd name="connsiteY23" fmla="*/ 464744 h 872150"/>
              <a:gd name="connsiteX24" fmla="*/ 805758 w 832919"/>
              <a:gd name="connsiteY24" fmla="*/ 461726 h 872150"/>
              <a:gd name="connsiteX25" fmla="*/ 793687 w 832919"/>
              <a:gd name="connsiteY25" fmla="*/ 431548 h 872150"/>
              <a:gd name="connsiteX26" fmla="*/ 724277 w 832919"/>
              <a:gd name="connsiteY26" fmla="*/ 359120 h 872150"/>
              <a:gd name="connsiteX27" fmla="*/ 712206 w 832919"/>
              <a:gd name="connsiteY27" fmla="*/ 307817 h 872150"/>
              <a:gd name="connsiteX28" fmla="*/ 636760 w 832919"/>
              <a:gd name="connsiteY28" fmla="*/ 271604 h 872150"/>
              <a:gd name="connsiteX29" fmla="*/ 564333 w 832919"/>
              <a:gd name="connsiteY29" fmla="*/ 196158 h 872150"/>
              <a:gd name="connsiteX30" fmla="*/ 531137 w 832919"/>
              <a:gd name="connsiteY30" fmla="*/ 175033 h 872150"/>
              <a:gd name="connsiteX31" fmla="*/ 488887 w 832919"/>
              <a:gd name="connsiteY31" fmla="*/ 156926 h 872150"/>
              <a:gd name="connsiteX32" fmla="*/ 470780 w 832919"/>
              <a:gd name="connsiteY32" fmla="*/ 150891 h 872150"/>
              <a:gd name="connsiteX33" fmla="*/ 434566 w 832919"/>
              <a:gd name="connsiteY33" fmla="*/ 99588 h 872150"/>
              <a:gd name="connsiteX34" fmla="*/ 377228 w 832919"/>
              <a:gd name="connsiteY34" fmla="*/ 63374 h 872150"/>
              <a:gd name="connsiteX35" fmla="*/ 371192 w 832919"/>
              <a:gd name="connsiteY35" fmla="*/ 36213 h 872150"/>
              <a:gd name="connsiteX36" fmla="*/ 371192 w 832919"/>
              <a:gd name="connsiteY36" fmla="*/ 0 h 872150"/>
              <a:gd name="connsiteX37" fmla="*/ 205212 w 832919"/>
              <a:gd name="connsiteY37" fmla="*/ 45267 h 872150"/>
              <a:gd name="connsiteX38" fmla="*/ 0 w 832919"/>
              <a:gd name="connsiteY38" fmla="*/ 87516 h 872150"/>
              <a:gd name="connsiteX0" fmla="*/ 0 w 832919"/>
              <a:gd name="connsiteY0" fmla="*/ 87516 h 872150"/>
              <a:gd name="connsiteX1" fmla="*/ 69410 w 832919"/>
              <a:gd name="connsiteY1" fmla="*/ 262550 h 872150"/>
              <a:gd name="connsiteX2" fmla="*/ 141838 w 832919"/>
              <a:gd name="connsiteY2" fmla="*/ 510011 h 872150"/>
              <a:gd name="connsiteX3" fmla="*/ 187105 w 832919"/>
              <a:gd name="connsiteY3" fmla="*/ 576404 h 872150"/>
              <a:gd name="connsiteX4" fmla="*/ 165980 w 832919"/>
              <a:gd name="connsiteY4" fmla="*/ 618653 h 872150"/>
              <a:gd name="connsiteX5" fmla="*/ 175034 w 832919"/>
              <a:gd name="connsiteY5" fmla="*/ 672974 h 872150"/>
              <a:gd name="connsiteX6" fmla="*/ 184087 w 832919"/>
              <a:gd name="connsiteY6" fmla="*/ 688063 h 872150"/>
              <a:gd name="connsiteX7" fmla="*/ 178051 w 832919"/>
              <a:gd name="connsiteY7" fmla="*/ 733330 h 872150"/>
              <a:gd name="connsiteX8" fmla="*/ 187105 w 832919"/>
              <a:gd name="connsiteY8" fmla="*/ 781615 h 872150"/>
              <a:gd name="connsiteX9" fmla="*/ 172655 w 832919"/>
              <a:gd name="connsiteY9" fmla="*/ 848965 h 872150"/>
              <a:gd name="connsiteX10" fmla="*/ 259533 w 832919"/>
              <a:gd name="connsiteY10" fmla="*/ 872150 h 872150"/>
              <a:gd name="connsiteX11" fmla="*/ 383263 w 832919"/>
              <a:gd name="connsiteY11" fmla="*/ 863097 h 872150"/>
              <a:gd name="connsiteX12" fmla="*/ 652953 w 832919"/>
              <a:gd name="connsiteY12" fmla="*/ 841180 h 872150"/>
              <a:gd name="connsiteX13" fmla="*/ 700135 w 832919"/>
              <a:gd name="connsiteY13" fmla="*/ 851025 h 872150"/>
              <a:gd name="connsiteX14" fmla="*/ 706170 w 832919"/>
              <a:gd name="connsiteY14" fmla="*/ 772562 h 872150"/>
              <a:gd name="connsiteX15" fmla="*/ 724277 w 832919"/>
              <a:gd name="connsiteY15" fmla="*/ 751437 h 872150"/>
              <a:gd name="connsiteX16" fmla="*/ 764958 w 832919"/>
              <a:gd name="connsiteY16" fmla="*/ 776057 h 872150"/>
              <a:gd name="connsiteX17" fmla="*/ 805758 w 832919"/>
              <a:gd name="connsiteY17" fmla="*/ 757473 h 872150"/>
              <a:gd name="connsiteX18" fmla="*/ 784634 w 832919"/>
              <a:gd name="connsiteY18" fmla="*/ 651849 h 872150"/>
              <a:gd name="connsiteX19" fmla="*/ 796705 w 832919"/>
              <a:gd name="connsiteY19" fmla="*/ 642796 h 872150"/>
              <a:gd name="connsiteX20" fmla="*/ 796705 w 832919"/>
              <a:gd name="connsiteY20" fmla="*/ 585457 h 872150"/>
              <a:gd name="connsiteX21" fmla="*/ 817830 w 832919"/>
              <a:gd name="connsiteY21" fmla="*/ 519065 h 872150"/>
              <a:gd name="connsiteX22" fmla="*/ 832919 w 832919"/>
              <a:gd name="connsiteY22" fmla="*/ 464744 h 872150"/>
              <a:gd name="connsiteX23" fmla="*/ 805758 w 832919"/>
              <a:gd name="connsiteY23" fmla="*/ 461726 h 872150"/>
              <a:gd name="connsiteX24" fmla="*/ 793687 w 832919"/>
              <a:gd name="connsiteY24" fmla="*/ 431548 h 872150"/>
              <a:gd name="connsiteX25" fmla="*/ 724277 w 832919"/>
              <a:gd name="connsiteY25" fmla="*/ 359120 h 872150"/>
              <a:gd name="connsiteX26" fmla="*/ 712206 w 832919"/>
              <a:gd name="connsiteY26" fmla="*/ 307817 h 872150"/>
              <a:gd name="connsiteX27" fmla="*/ 636760 w 832919"/>
              <a:gd name="connsiteY27" fmla="*/ 271604 h 872150"/>
              <a:gd name="connsiteX28" fmla="*/ 564333 w 832919"/>
              <a:gd name="connsiteY28" fmla="*/ 196158 h 872150"/>
              <a:gd name="connsiteX29" fmla="*/ 531137 w 832919"/>
              <a:gd name="connsiteY29" fmla="*/ 175033 h 872150"/>
              <a:gd name="connsiteX30" fmla="*/ 488887 w 832919"/>
              <a:gd name="connsiteY30" fmla="*/ 156926 h 872150"/>
              <a:gd name="connsiteX31" fmla="*/ 470780 w 832919"/>
              <a:gd name="connsiteY31" fmla="*/ 150891 h 872150"/>
              <a:gd name="connsiteX32" fmla="*/ 434566 w 832919"/>
              <a:gd name="connsiteY32" fmla="*/ 99588 h 872150"/>
              <a:gd name="connsiteX33" fmla="*/ 377228 w 832919"/>
              <a:gd name="connsiteY33" fmla="*/ 63374 h 872150"/>
              <a:gd name="connsiteX34" fmla="*/ 371192 w 832919"/>
              <a:gd name="connsiteY34" fmla="*/ 36213 h 872150"/>
              <a:gd name="connsiteX35" fmla="*/ 371192 w 832919"/>
              <a:gd name="connsiteY35" fmla="*/ 0 h 872150"/>
              <a:gd name="connsiteX36" fmla="*/ 205212 w 832919"/>
              <a:gd name="connsiteY36" fmla="*/ 45267 h 872150"/>
              <a:gd name="connsiteX37" fmla="*/ 0 w 832919"/>
              <a:gd name="connsiteY37" fmla="*/ 87516 h 872150"/>
              <a:gd name="connsiteX0" fmla="*/ 0 w 825779"/>
              <a:gd name="connsiteY0" fmla="*/ 87516 h 872150"/>
              <a:gd name="connsiteX1" fmla="*/ 69410 w 825779"/>
              <a:gd name="connsiteY1" fmla="*/ 262550 h 872150"/>
              <a:gd name="connsiteX2" fmla="*/ 141838 w 825779"/>
              <a:gd name="connsiteY2" fmla="*/ 510011 h 872150"/>
              <a:gd name="connsiteX3" fmla="*/ 187105 w 825779"/>
              <a:gd name="connsiteY3" fmla="*/ 576404 h 872150"/>
              <a:gd name="connsiteX4" fmla="*/ 165980 w 825779"/>
              <a:gd name="connsiteY4" fmla="*/ 618653 h 872150"/>
              <a:gd name="connsiteX5" fmla="*/ 175034 w 825779"/>
              <a:gd name="connsiteY5" fmla="*/ 672974 h 872150"/>
              <a:gd name="connsiteX6" fmla="*/ 184087 w 825779"/>
              <a:gd name="connsiteY6" fmla="*/ 688063 h 872150"/>
              <a:gd name="connsiteX7" fmla="*/ 178051 w 825779"/>
              <a:gd name="connsiteY7" fmla="*/ 733330 h 872150"/>
              <a:gd name="connsiteX8" fmla="*/ 187105 w 825779"/>
              <a:gd name="connsiteY8" fmla="*/ 781615 h 872150"/>
              <a:gd name="connsiteX9" fmla="*/ 172655 w 825779"/>
              <a:gd name="connsiteY9" fmla="*/ 848965 h 872150"/>
              <a:gd name="connsiteX10" fmla="*/ 259533 w 825779"/>
              <a:gd name="connsiteY10" fmla="*/ 872150 h 872150"/>
              <a:gd name="connsiteX11" fmla="*/ 383263 w 825779"/>
              <a:gd name="connsiteY11" fmla="*/ 863097 h 872150"/>
              <a:gd name="connsiteX12" fmla="*/ 652953 w 825779"/>
              <a:gd name="connsiteY12" fmla="*/ 841180 h 872150"/>
              <a:gd name="connsiteX13" fmla="*/ 700135 w 825779"/>
              <a:gd name="connsiteY13" fmla="*/ 851025 h 872150"/>
              <a:gd name="connsiteX14" fmla="*/ 706170 w 825779"/>
              <a:gd name="connsiteY14" fmla="*/ 772562 h 872150"/>
              <a:gd name="connsiteX15" fmla="*/ 724277 w 825779"/>
              <a:gd name="connsiteY15" fmla="*/ 751437 h 872150"/>
              <a:gd name="connsiteX16" fmla="*/ 764958 w 825779"/>
              <a:gd name="connsiteY16" fmla="*/ 776057 h 872150"/>
              <a:gd name="connsiteX17" fmla="*/ 805758 w 825779"/>
              <a:gd name="connsiteY17" fmla="*/ 757473 h 872150"/>
              <a:gd name="connsiteX18" fmla="*/ 784634 w 825779"/>
              <a:gd name="connsiteY18" fmla="*/ 651849 h 872150"/>
              <a:gd name="connsiteX19" fmla="*/ 796705 w 825779"/>
              <a:gd name="connsiteY19" fmla="*/ 642796 h 872150"/>
              <a:gd name="connsiteX20" fmla="*/ 796705 w 825779"/>
              <a:gd name="connsiteY20" fmla="*/ 585457 h 872150"/>
              <a:gd name="connsiteX21" fmla="*/ 817830 w 825779"/>
              <a:gd name="connsiteY21" fmla="*/ 519065 h 872150"/>
              <a:gd name="connsiteX22" fmla="*/ 825779 w 825779"/>
              <a:gd name="connsiteY22" fmla="*/ 469510 h 872150"/>
              <a:gd name="connsiteX23" fmla="*/ 805758 w 825779"/>
              <a:gd name="connsiteY23" fmla="*/ 461726 h 872150"/>
              <a:gd name="connsiteX24" fmla="*/ 793687 w 825779"/>
              <a:gd name="connsiteY24" fmla="*/ 431548 h 872150"/>
              <a:gd name="connsiteX25" fmla="*/ 724277 w 825779"/>
              <a:gd name="connsiteY25" fmla="*/ 359120 h 872150"/>
              <a:gd name="connsiteX26" fmla="*/ 712206 w 825779"/>
              <a:gd name="connsiteY26" fmla="*/ 307817 h 872150"/>
              <a:gd name="connsiteX27" fmla="*/ 636760 w 825779"/>
              <a:gd name="connsiteY27" fmla="*/ 271604 h 872150"/>
              <a:gd name="connsiteX28" fmla="*/ 564333 w 825779"/>
              <a:gd name="connsiteY28" fmla="*/ 196158 h 872150"/>
              <a:gd name="connsiteX29" fmla="*/ 531137 w 825779"/>
              <a:gd name="connsiteY29" fmla="*/ 175033 h 872150"/>
              <a:gd name="connsiteX30" fmla="*/ 488887 w 825779"/>
              <a:gd name="connsiteY30" fmla="*/ 156926 h 872150"/>
              <a:gd name="connsiteX31" fmla="*/ 470780 w 825779"/>
              <a:gd name="connsiteY31" fmla="*/ 150891 h 872150"/>
              <a:gd name="connsiteX32" fmla="*/ 434566 w 825779"/>
              <a:gd name="connsiteY32" fmla="*/ 99588 h 872150"/>
              <a:gd name="connsiteX33" fmla="*/ 377228 w 825779"/>
              <a:gd name="connsiteY33" fmla="*/ 63374 h 872150"/>
              <a:gd name="connsiteX34" fmla="*/ 371192 w 825779"/>
              <a:gd name="connsiteY34" fmla="*/ 36213 h 872150"/>
              <a:gd name="connsiteX35" fmla="*/ 371192 w 825779"/>
              <a:gd name="connsiteY35" fmla="*/ 0 h 872150"/>
              <a:gd name="connsiteX36" fmla="*/ 205212 w 825779"/>
              <a:gd name="connsiteY36" fmla="*/ 45267 h 872150"/>
              <a:gd name="connsiteX37" fmla="*/ 0 w 825779"/>
              <a:gd name="connsiteY37" fmla="*/ 87516 h 87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825779" h="872150">
                <a:moveTo>
                  <a:pt x="0" y="87516"/>
                </a:moveTo>
                <a:lnTo>
                  <a:pt x="69410" y="262550"/>
                </a:lnTo>
                <a:lnTo>
                  <a:pt x="141838" y="510011"/>
                </a:lnTo>
                <a:lnTo>
                  <a:pt x="187105" y="576404"/>
                </a:lnTo>
                <a:lnTo>
                  <a:pt x="165980" y="618653"/>
                </a:lnTo>
                <a:lnTo>
                  <a:pt x="175034" y="672974"/>
                </a:lnTo>
                <a:lnTo>
                  <a:pt x="184087" y="688063"/>
                </a:lnTo>
                <a:lnTo>
                  <a:pt x="178051" y="733330"/>
                </a:lnTo>
                <a:lnTo>
                  <a:pt x="187105" y="781615"/>
                </a:lnTo>
                <a:lnTo>
                  <a:pt x="172655" y="848965"/>
                </a:lnTo>
                <a:lnTo>
                  <a:pt x="259533" y="872150"/>
                </a:lnTo>
                <a:lnTo>
                  <a:pt x="383263" y="863097"/>
                </a:lnTo>
                <a:lnTo>
                  <a:pt x="652953" y="841180"/>
                </a:lnTo>
                <a:lnTo>
                  <a:pt x="700135" y="851025"/>
                </a:lnTo>
                <a:lnTo>
                  <a:pt x="706170" y="772562"/>
                </a:lnTo>
                <a:lnTo>
                  <a:pt x="724277" y="751437"/>
                </a:lnTo>
                <a:lnTo>
                  <a:pt x="764958" y="776057"/>
                </a:lnTo>
                <a:lnTo>
                  <a:pt x="805758" y="757473"/>
                </a:lnTo>
                <a:lnTo>
                  <a:pt x="784634" y="651849"/>
                </a:lnTo>
                <a:lnTo>
                  <a:pt x="796705" y="642796"/>
                </a:lnTo>
                <a:lnTo>
                  <a:pt x="796705" y="585457"/>
                </a:lnTo>
                <a:lnTo>
                  <a:pt x="817830" y="519065"/>
                </a:lnTo>
                <a:lnTo>
                  <a:pt x="825779" y="469510"/>
                </a:lnTo>
                <a:lnTo>
                  <a:pt x="805758" y="461726"/>
                </a:lnTo>
                <a:lnTo>
                  <a:pt x="793687" y="431548"/>
                </a:lnTo>
                <a:lnTo>
                  <a:pt x="724277" y="359120"/>
                </a:lnTo>
                <a:lnTo>
                  <a:pt x="712206" y="307817"/>
                </a:lnTo>
                <a:lnTo>
                  <a:pt x="636760" y="271604"/>
                </a:lnTo>
                <a:lnTo>
                  <a:pt x="564333" y="196158"/>
                </a:lnTo>
                <a:lnTo>
                  <a:pt x="531137" y="175033"/>
                </a:lnTo>
                <a:lnTo>
                  <a:pt x="488887" y="156926"/>
                </a:lnTo>
                <a:lnTo>
                  <a:pt x="470780" y="150891"/>
                </a:lnTo>
                <a:lnTo>
                  <a:pt x="434566" y="99588"/>
                </a:lnTo>
                <a:lnTo>
                  <a:pt x="377228" y="63374"/>
                </a:lnTo>
                <a:lnTo>
                  <a:pt x="371192" y="36213"/>
                </a:lnTo>
                <a:lnTo>
                  <a:pt x="371192" y="0"/>
                </a:lnTo>
                <a:lnTo>
                  <a:pt x="205212" y="45267"/>
                </a:lnTo>
                <a:lnTo>
                  <a:pt x="0" y="8751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6876392" y="4192293"/>
            <a:ext cx="734834" cy="566507"/>
          </a:xfrm>
          <a:custGeom>
            <a:avLst/>
            <a:gdLst>
              <a:gd name="connsiteX0" fmla="*/ 0 w 760491"/>
              <a:gd name="connsiteY0" fmla="*/ 111659 h 585457"/>
              <a:gd name="connsiteX1" fmla="*/ 9054 w 760491"/>
              <a:gd name="connsiteY1" fmla="*/ 184087 h 585457"/>
              <a:gd name="connsiteX2" fmla="*/ 57339 w 760491"/>
              <a:gd name="connsiteY2" fmla="*/ 217283 h 585457"/>
              <a:gd name="connsiteX3" fmla="*/ 99588 w 760491"/>
              <a:gd name="connsiteY3" fmla="*/ 277639 h 585457"/>
              <a:gd name="connsiteX4" fmla="*/ 190123 w 760491"/>
              <a:gd name="connsiteY4" fmla="*/ 307817 h 585457"/>
              <a:gd name="connsiteX5" fmla="*/ 262551 w 760491"/>
              <a:gd name="connsiteY5" fmla="*/ 395334 h 585457"/>
              <a:gd name="connsiteX6" fmla="*/ 344032 w 760491"/>
              <a:gd name="connsiteY6" fmla="*/ 422495 h 585457"/>
              <a:gd name="connsiteX7" fmla="*/ 359121 w 760491"/>
              <a:gd name="connsiteY7" fmla="*/ 491904 h 585457"/>
              <a:gd name="connsiteX8" fmla="*/ 434566 w 760491"/>
              <a:gd name="connsiteY8" fmla="*/ 576403 h 585457"/>
              <a:gd name="connsiteX9" fmla="*/ 455691 w 760491"/>
              <a:gd name="connsiteY9" fmla="*/ 585457 h 585457"/>
              <a:gd name="connsiteX10" fmla="*/ 473798 w 760491"/>
              <a:gd name="connsiteY10" fmla="*/ 540190 h 585457"/>
              <a:gd name="connsiteX11" fmla="*/ 470780 w 760491"/>
              <a:gd name="connsiteY11" fmla="*/ 500958 h 585457"/>
              <a:gd name="connsiteX12" fmla="*/ 500958 w 760491"/>
              <a:gd name="connsiteY12" fmla="*/ 513029 h 585457"/>
              <a:gd name="connsiteX13" fmla="*/ 510012 w 760491"/>
              <a:gd name="connsiteY13" fmla="*/ 473798 h 585457"/>
              <a:gd name="connsiteX14" fmla="*/ 546226 w 760491"/>
              <a:gd name="connsiteY14" fmla="*/ 470780 h 585457"/>
              <a:gd name="connsiteX15" fmla="*/ 594511 w 760491"/>
              <a:gd name="connsiteY15" fmla="*/ 425512 h 585457"/>
              <a:gd name="connsiteX16" fmla="*/ 609600 w 760491"/>
              <a:gd name="connsiteY16" fmla="*/ 374209 h 585457"/>
              <a:gd name="connsiteX17" fmla="*/ 639778 w 760491"/>
              <a:gd name="connsiteY17" fmla="*/ 362138 h 585457"/>
              <a:gd name="connsiteX18" fmla="*/ 651850 w 760491"/>
              <a:gd name="connsiteY18" fmla="*/ 331960 h 585457"/>
              <a:gd name="connsiteX19" fmla="*/ 672974 w 760491"/>
              <a:gd name="connsiteY19" fmla="*/ 271603 h 585457"/>
              <a:gd name="connsiteX20" fmla="*/ 709188 w 760491"/>
              <a:gd name="connsiteY20" fmla="*/ 256514 h 585457"/>
              <a:gd name="connsiteX21" fmla="*/ 733331 w 760491"/>
              <a:gd name="connsiteY21" fmla="*/ 193140 h 585457"/>
              <a:gd name="connsiteX22" fmla="*/ 760491 w 760491"/>
              <a:gd name="connsiteY22" fmla="*/ 135801 h 585457"/>
              <a:gd name="connsiteX23" fmla="*/ 564333 w 760491"/>
              <a:gd name="connsiteY23" fmla="*/ 0 h 585457"/>
              <a:gd name="connsiteX24" fmla="*/ 416459 w 760491"/>
              <a:gd name="connsiteY24" fmla="*/ 45267 h 585457"/>
              <a:gd name="connsiteX25" fmla="*/ 386281 w 760491"/>
              <a:gd name="connsiteY25" fmla="*/ 51302 h 585457"/>
              <a:gd name="connsiteX26" fmla="*/ 377228 w 760491"/>
              <a:gd name="connsiteY26" fmla="*/ 48285 h 585457"/>
              <a:gd name="connsiteX27" fmla="*/ 347050 w 760491"/>
              <a:gd name="connsiteY27" fmla="*/ 24142 h 585457"/>
              <a:gd name="connsiteX28" fmla="*/ 322907 w 760491"/>
              <a:gd name="connsiteY28" fmla="*/ 12071 h 585457"/>
              <a:gd name="connsiteX29" fmla="*/ 280657 w 760491"/>
              <a:gd name="connsiteY29" fmla="*/ 18106 h 585457"/>
              <a:gd name="connsiteX30" fmla="*/ 229354 w 760491"/>
              <a:gd name="connsiteY30" fmla="*/ 27160 h 585457"/>
              <a:gd name="connsiteX31" fmla="*/ 187105 w 760491"/>
              <a:gd name="connsiteY31" fmla="*/ 27160 h 585457"/>
              <a:gd name="connsiteX32" fmla="*/ 147873 w 760491"/>
              <a:gd name="connsiteY32" fmla="*/ 45267 h 585457"/>
              <a:gd name="connsiteX33" fmla="*/ 0 w 760491"/>
              <a:gd name="connsiteY33" fmla="*/ 111659 h 585457"/>
              <a:gd name="connsiteX0" fmla="*/ 0 w 760491"/>
              <a:gd name="connsiteY0" fmla="*/ 111659 h 585457"/>
              <a:gd name="connsiteX1" fmla="*/ 1909 w 760491"/>
              <a:gd name="connsiteY1" fmla="*/ 184087 h 585457"/>
              <a:gd name="connsiteX2" fmla="*/ 57339 w 760491"/>
              <a:gd name="connsiteY2" fmla="*/ 217283 h 585457"/>
              <a:gd name="connsiteX3" fmla="*/ 99588 w 760491"/>
              <a:gd name="connsiteY3" fmla="*/ 277639 h 585457"/>
              <a:gd name="connsiteX4" fmla="*/ 190123 w 760491"/>
              <a:gd name="connsiteY4" fmla="*/ 307817 h 585457"/>
              <a:gd name="connsiteX5" fmla="*/ 262551 w 760491"/>
              <a:gd name="connsiteY5" fmla="*/ 395334 h 585457"/>
              <a:gd name="connsiteX6" fmla="*/ 344032 w 760491"/>
              <a:gd name="connsiteY6" fmla="*/ 422495 h 585457"/>
              <a:gd name="connsiteX7" fmla="*/ 359121 w 760491"/>
              <a:gd name="connsiteY7" fmla="*/ 491904 h 585457"/>
              <a:gd name="connsiteX8" fmla="*/ 434566 w 760491"/>
              <a:gd name="connsiteY8" fmla="*/ 576403 h 585457"/>
              <a:gd name="connsiteX9" fmla="*/ 455691 w 760491"/>
              <a:gd name="connsiteY9" fmla="*/ 585457 h 585457"/>
              <a:gd name="connsiteX10" fmla="*/ 473798 w 760491"/>
              <a:gd name="connsiteY10" fmla="*/ 540190 h 585457"/>
              <a:gd name="connsiteX11" fmla="*/ 470780 w 760491"/>
              <a:gd name="connsiteY11" fmla="*/ 500958 h 585457"/>
              <a:gd name="connsiteX12" fmla="*/ 500958 w 760491"/>
              <a:gd name="connsiteY12" fmla="*/ 513029 h 585457"/>
              <a:gd name="connsiteX13" fmla="*/ 510012 w 760491"/>
              <a:gd name="connsiteY13" fmla="*/ 473798 h 585457"/>
              <a:gd name="connsiteX14" fmla="*/ 546226 w 760491"/>
              <a:gd name="connsiteY14" fmla="*/ 470780 h 585457"/>
              <a:gd name="connsiteX15" fmla="*/ 594511 w 760491"/>
              <a:gd name="connsiteY15" fmla="*/ 425512 h 585457"/>
              <a:gd name="connsiteX16" fmla="*/ 609600 w 760491"/>
              <a:gd name="connsiteY16" fmla="*/ 374209 h 585457"/>
              <a:gd name="connsiteX17" fmla="*/ 639778 w 760491"/>
              <a:gd name="connsiteY17" fmla="*/ 362138 h 585457"/>
              <a:gd name="connsiteX18" fmla="*/ 651850 w 760491"/>
              <a:gd name="connsiteY18" fmla="*/ 331960 h 585457"/>
              <a:gd name="connsiteX19" fmla="*/ 672974 w 760491"/>
              <a:gd name="connsiteY19" fmla="*/ 271603 h 585457"/>
              <a:gd name="connsiteX20" fmla="*/ 709188 w 760491"/>
              <a:gd name="connsiteY20" fmla="*/ 256514 h 585457"/>
              <a:gd name="connsiteX21" fmla="*/ 733331 w 760491"/>
              <a:gd name="connsiteY21" fmla="*/ 193140 h 585457"/>
              <a:gd name="connsiteX22" fmla="*/ 760491 w 760491"/>
              <a:gd name="connsiteY22" fmla="*/ 135801 h 585457"/>
              <a:gd name="connsiteX23" fmla="*/ 564333 w 760491"/>
              <a:gd name="connsiteY23" fmla="*/ 0 h 585457"/>
              <a:gd name="connsiteX24" fmla="*/ 416459 w 760491"/>
              <a:gd name="connsiteY24" fmla="*/ 45267 h 585457"/>
              <a:gd name="connsiteX25" fmla="*/ 386281 w 760491"/>
              <a:gd name="connsiteY25" fmla="*/ 51302 h 585457"/>
              <a:gd name="connsiteX26" fmla="*/ 377228 w 760491"/>
              <a:gd name="connsiteY26" fmla="*/ 48285 h 585457"/>
              <a:gd name="connsiteX27" fmla="*/ 347050 w 760491"/>
              <a:gd name="connsiteY27" fmla="*/ 24142 h 585457"/>
              <a:gd name="connsiteX28" fmla="*/ 322907 w 760491"/>
              <a:gd name="connsiteY28" fmla="*/ 12071 h 585457"/>
              <a:gd name="connsiteX29" fmla="*/ 280657 w 760491"/>
              <a:gd name="connsiteY29" fmla="*/ 18106 h 585457"/>
              <a:gd name="connsiteX30" fmla="*/ 229354 w 760491"/>
              <a:gd name="connsiteY30" fmla="*/ 27160 h 585457"/>
              <a:gd name="connsiteX31" fmla="*/ 187105 w 760491"/>
              <a:gd name="connsiteY31" fmla="*/ 27160 h 585457"/>
              <a:gd name="connsiteX32" fmla="*/ 147873 w 760491"/>
              <a:gd name="connsiteY32" fmla="*/ 45267 h 585457"/>
              <a:gd name="connsiteX33" fmla="*/ 0 w 760491"/>
              <a:gd name="connsiteY33" fmla="*/ 111659 h 585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760491" h="585457">
                <a:moveTo>
                  <a:pt x="0" y="111659"/>
                </a:moveTo>
                <a:cubicBezTo>
                  <a:pt x="636" y="135802"/>
                  <a:pt x="1273" y="159944"/>
                  <a:pt x="1909" y="184087"/>
                </a:cubicBezTo>
                <a:lnTo>
                  <a:pt x="57339" y="217283"/>
                </a:lnTo>
                <a:lnTo>
                  <a:pt x="99588" y="277639"/>
                </a:lnTo>
                <a:lnTo>
                  <a:pt x="190123" y="307817"/>
                </a:lnTo>
                <a:lnTo>
                  <a:pt x="262551" y="395334"/>
                </a:lnTo>
                <a:lnTo>
                  <a:pt x="344032" y="422495"/>
                </a:lnTo>
                <a:lnTo>
                  <a:pt x="359121" y="491904"/>
                </a:lnTo>
                <a:lnTo>
                  <a:pt x="434566" y="576403"/>
                </a:lnTo>
                <a:lnTo>
                  <a:pt x="455691" y="585457"/>
                </a:lnTo>
                <a:lnTo>
                  <a:pt x="473798" y="540190"/>
                </a:lnTo>
                <a:lnTo>
                  <a:pt x="470780" y="500958"/>
                </a:lnTo>
                <a:lnTo>
                  <a:pt x="500958" y="513029"/>
                </a:lnTo>
                <a:lnTo>
                  <a:pt x="510012" y="473798"/>
                </a:lnTo>
                <a:lnTo>
                  <a:pt x="546226" y="470780"/>
                </a:lnTo>
                <a:lnTo>
                  <a:pt x="594511" y="425512"/>
                </a:lnTo>
                <a:lnTo>
                  <a:pt x="609600" y="374209"/>
                </a:lnTo>
                <a:lnTo>
                  <a:pt x="639778" y="362138"/>
                </a:lnTo>
                <a:lnTo>
                  <a:pt x="651850" y="331960"/>
                </a:lnTo>
                <a:lnTo>
                  <a:pt x="672974" y="271603"/>
                </a:lnTo>
                <a:lnTo>
                  <a:pt x="709188" y="256514"/>
                </a:lnTo>
                <a:lnTo>
                  <a:pt x="733331" y="193140"/>
                </a:lnTo>
                <a:lnTo>
                  <a:pt x="760491" y="135801"/>
                </a:lnTo>
                <a:lnTo>
                  <a:pt x="564333" y="0"/>
                </a:lnTo>
                <a:lnTo>
                  <a:pt x="416459" y="45267"/>
                </a:lnTo>
                <a:lnTo>
                  <a:pt x="386281" y="51302"/>
                </a:lnTo>
                <a:lnTo>
                  <a:pt x="377228" y="48285"/>
                </a:lnTo>
                <a:lnTo>
                  <a:pt x="347050" y="24142"/>
                </a:lnTo>
                <a:lnTo>
                  <a:pt x="322907" y="12071"/>
                </a:lnTo>
                <a:lnTo>
                  <a:pt x="280657" y="18106"/>
                </a:lnTo>
                <a:lnTo>
                  <a:pt x="229354" y="27160"/>
                </a:lnTo>
                <a:lnTo>
                  <a:pt x="187105" y="27160"/>
                </a:lnTo>
                <a:lnTo>
                  <a:pt x="147873" y="45267"/>
                </a:lnTo>
                <a:lnTo>
                  <a:pt x="0" y="11165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5943659" y="3594999"/>
            <a:ext cx="997166" cy="594217"/>
          </a:xfrm>
          <a:custGeom>
            <a:avLst/>
            <a:gdLst>
              <a:gd name="connsiteX0" fmla="*/ 132784 w 1023042"/>
              <a:gd name="connsiteY0" fmla="*/ 350067 h 612618"/>
              <a:gd name="connsiteX1" fmla="*/ 141838 w 1023042"/>
              <a:gd name="connsiteY1" fmla="*/ 425513 h 612618"/>
              <a:gd name="connsiteX2" fmla="*/ 93553 w 1023042"/>
              <a:gd name="connsiteY2" fmla="*/ 452673 h 612618"/>
              <a:gd name="connsiteX3" fmla="*/ 90535 w 1023042"/>
              <a:gd name="connsiteY3" fmla="*/ 488887 h 612618"/>
              <a:gd name="connsiteX4" fmla="*/ 90535 w 1023042"/>
              <a:gd name="connsiteY4" fmla="*/ 503976 h 612618"/>
              <a:gd name="connsiteX5" fmla="*/ 0 w 1023042"/>
              <a:gd name="connsiteY5" fmla="*/ 482851 h 612618"/>
              <a:gd name="connsiteX6" fmla="*/ 0 w 1023042"/>
              <a:gd name="connsiteY6" fmla="*/ 570368 h 612618"/>
              <a:gd name="connsiteX7" fmla="*/ 15089 w 1023042"/>
              <a:gd name="connsiteY7" fmla="*/ 612618 h 612618"/>
              <a:gd name="connsiteX8" fmla="*/ 75446 w 1023042"/>
              <a:gd name="connsiteY8" fmla="*/ 609600 h 612618"/>
              <a:gd name="connsiteX9" fmla="*/ 135802 w 1023042"/>
              <a:gd name="connsiteY9" fmla="*/ 597529 h 612618"/>
              <a:gd name="connsiteX10" fmla="*/ 208230 w 1023042"/>
              <a:gd name="connsiteY10" fmla="*/ 564333 h 612618"/>
              <a:gd name="connsiteX11" fmla="*/ 310836 w 1023042"/>
              <a:gd name="connsiteY11" fmla="*/ 549243 h 612618"/>
              <a:gd name="connsiteX12" fmla="*/ 449656 w 1023042"/>
              <a:gd name="connsiteY12" fmla="*/ 522083 h 612618"/>
              <a:gd name="connsiteX13" fmla="*/ 624689 w 1023042"/>
              <a:gd name="connsiteY13" fmla="*/ 488887 h 612618"/>
              <a:gd name="connsiteX14" fmla="*/ 781616 w 1023042"/>
              <a:gd name="connsiteY14" fmla="*/ 464744 h 612618"/>
              <a:gd name="connsiteX15" fmla="*/ 841972 w 1023042"/>
              <a:gd name="connsiteY15" fmla="*/ 446637 h 612618"/>
              <a:gd name="connsiteX16" fmla="*/ 881204 w 1023042"/>
              <a:gd name="connsiteY16" fmla="*/ 404388 h 612618"/>
              <a:gd name="connsiteX17" fmla="*/ 941560 w 1023042"/>
              <a:gd name="connsiteY17" fmla="*/ 356103 h 612618"/>
              <a:gd name="connsiteX18" fmla="*/ 962685 w 1023042"/>
              <a:gd name="connsiteY18" fmla="*/ 301782 h 612618"/>
              <a:gd name="connsiteX19" fmla="*/ 989846 w 1023042"/>
              <a:gd name="connsiteY19" fmla="*/ 274622 h 612618"/>
              <a:gd name="connsiteX20" fmla="*/ 1023042 w 1023042"/>
              <a:gd name="connsiteY20" fmla="*/ 241426 h 612618"/>
              <a:gd name="connsiteX21" fmla="*/ 1010970 w 1023042"/>
              <a:gd name="connsiteY21" fmla="*/ 190123 h 612618"/>
              <a:gd name="connsiteX22" fmla="*/ 959667 w 1023042"/>
              <a:gd name="connsiteY22" fmla="*/ 156927 h 612618"/>
              <a:gd name="connsiteX23" fmla="*/ 932507 w 1023042"/>
              <a:gd name="connsiteY23" fmla="*/ 57338 h 612618"/>
              <a:gd name="connsiteX24" fmla="*/ 917418 w 1023042"/>
              <a:gd name="connsiteY24" fmla="*/ 54321 h 612618"/>
              <a:gd name="connsiteX25" fmla="*/ 899311 w 1023042"/>
              <a:gd name="connsiteY25" fmla="*/ 33196 h 612618"/>
              <a:gd name="connsiteX26" fmla="*/ 878186 w 1023042"/>
              <a:gd name="connsiteY26" fmla="*/ 27160 h 612618"/>
              <a:gd name="connsiteX27" fmla="*/ 860079 w 1023042"/>
              <a:gd name="connsiteY27" fmla="*/ 0 h 612618"/>
              <a:gd name="connsiteX28" fmla="*/ 817830 w 1023042"/>
              <a:gd name="connsiteY28" fmla="*/ 21125 h 612618"/>
              <a:gd name="connsiteX29" fmla="*/ 754456 w 1023042"/>
              <a:gd name="connsiteY29" fmla="*/ 30178 h 612618"/>
              <a:gd name="connsiteX30" fmla="*/ 715224 w 1023042"/>
              <a:gd name="connsiteY30" fmla="*/ 30178 h 612618"/>
              <a:gd name="connsiteX31" fmla="*/ 654867 w 1023042"/>
              <a:gd name="connsiteY31" fmla="*/ 36214 h 612618"/>
              <a:gd name="connsiteX32" fmla="*/ 618654 w 1023042"/>
              <a:gd name="connsiteY32" fmla="*/ 18107 h 612618"/>
              <a:gd name="connsiteX33" fmla="*/ 582440 w 1023042"/>
              <a:gd name="connsiteY33" fmla="*/ 6036 h 612618"/>
              <a:gd name="connsiteX34" fmla="*/ 561315 w 1023042"/>
              <a:gd name="connsiteY34" fmla="*/ 27160 h 612618"/>
              <a:gd name="connsiteX35" fmla="*/ 588475 w 1023042"/>
              <a:gd name="connsiteY35" fmla="*/ 60356 h 612618"/>
              <a:gd name="connsiteX36" fmla="*/ 591493 w 1023042"/>
              <a:gd name="connsiteY36" fmla="*/ 84499 h 612618"/>
              <a:gd name="connsiteX37" fmla="*/ 546226 w 1023042"/>
              <a:gd name="connsiteY37" fmla="*/ 96570 h 612618"/>
              <a:gd name="connsiteX38" fmla="*/ 513030 w 1023042"/>
              <a:gd name="connsiteY38" fmla="*/ 108641 h 612618"/>
              <a:gd name="connsiteX39" fmla="*/ 473798 w 1023042"/>
              <a:gd name="connsiteY39" fmla="*/ 117695 h 612618"/>
              <a:gd name="connsiteX40" fmla="*/ 473798 w 1023042"/>
              <a:gd name="connsiteY40" fmla="*/ 181069 h 612618"/>
              <a:gd name="connsiteX41" fmla="*/ 437584 w 1023042"/>
              <a:gd name="connsiteY41" fmla="*/ 214265 h 612618"/>
              <a:gd name="connsiteX42" fmla="*/ 416459 w 1023042"/>
              <a:gd name="connsiteY42" fmla="*/ 247461 h 612618"/>
              <a:gd name="connsiteX43" fmla="*/ 392317 w 1023042"/>
              <a:gd name="connsiteY43" fmla="*/ 259533 h 612618"/>
              <a:gd name="connsiteX44" fmla="*/ 365157 w 1023042"/>
              <a:gd name="connsiteY44" fmla="*/ 235390 h 612618"/>
              <a:gd name="connsiteX45" fmla="*/ 356103 w 1023042"/>
              <a:gd name="connsiteY45" fmla="*/ 253497 h 612618"/>
              <a:gd name="connsiteX46" fmla="*/ 356103 w 1023042"/>
              <a:gd name="connsiteY46" fmla="*/ 277639 h 612618"/>
              <a:gd name="connsiteX47" fmla="*/ 356103 w 1023042"/>
              <a:gd name="connsiteY47" fmla="*/ 298764 h 612618"/>
              <a:gd name="connsiteX48" fmla="*/ 334978 w 1023042"/>
              <a:gd name="connsiteY48" fmla="*/ 286693 h 612618"/>
              <a:gd name="connsiteX49" fmla="*/ 316871 w 1023042"/>
              <a:gd name="connsiteY49" fmla="*/ 283675 h 612618"/>
              <a:gd name="connsiteX50" fmla="*/ 277640 w 1023042"/>
              <a:gd name="connsiteY50" fmla="*/ 316871 h 612618"/>
              <a:gd name="connsiteX51" fmla="*/ 262551 w 1023042"/>
              <a:gd name="connsiteY51" fmla="*/ 328942 h 612618"/>
              <a:gd name="connsiteX52" fmla="*/ 229355 w 1023042"/>
              <a:gd name="connsiteY52" fmla="*/ 334978 h 612618"/>
              <a:gd name="connsiteX53" fmla="*/ 211248 w 1023042"/>
              <a:gd name="connsiteY53" fmla="*/ 316871 h 612618"/>
              <a:gd name="connsiteX54" fmla="*/ 196158 w 1023042"/>
              <a:gd name="connsiteY54" fmla="*/ 310836 h 612618"/>
              <a:gd name="connsiteX55" fmla="*/ 132784 w 1023042"/>
              <a:gd name="connsiteY55" fmla="*/ 350067 h 612618"/>
              <a:gd name="connsiteX0" fmla="*/ 132784 w 1023042"/>
              <a:gd name="connsiteY0" fmla="*/ 350067 h 612618"/>
              <a:gd name="connsiteX1" fmla="*/ 141838 w 1023042"/>
              <a:gd name="connsiteY1" fmla="*/ 425513 h 612618"/>
              <a:gd name="connsiteX2" fmla="*/ 93553 w 1023042"/>
              <a:gd name="connsiteY2" fmla="*/ 452673 h 612618"/>
              <a:gd name="connsiteX3" fmla="*/ 90535 w 1023042"/>
              <a:gd name="connsiteY3" fmla="*/ 488887 h 612618"/>
              <a:gd name="connsiteX4" fmla="*/ 90535 w 1023042"/>
              <a:gd name="connsiteY4" fmla="*/ 503976 h 612618"/>
              <a:gd name="connsiteX5" fmla="*/ 0 w 1023042"/>
              <a:gd name="connsiteY5" fmla="*/ 482851 h 612618"/>
              <a:gd name="connsiteX6" fmla="*/ 0 w 1023042"/>
              <a:gd name="connsiteY6" fmla="*/ 570368 h 612618"/>
              <a:gd name="connsiteX7" fmla="*/ 15089 w 1023042"/>
              <a:gd name="connsiteY7" fmla="*/ 612618 h 612618"/>
              <a:gd name="connsiteX8" fmla="*/ 75446 w 1023042"/>
              <a:gd name="connsiteY8" fmla="*/ 609600 h 612618"/>
              <a:gd name="connsiteX9" fmla="*/ 135802 w 1023042"/>
              <a:gd name="connsiteY9" fmla="*/ 597529 h 612618"/>
              <a:gd name="connsiteX10" fmla="*/ 208230 w 1023042"/>
              <a:gd name="connsiteY10" fmla="*/ 564333 h 612618"/>
              <a:gd name="connsiteX11" fmla="*/ 310836 w 1023042"/>
              <a:gd name="connsiteY11" fmla="*/ 549243 h 612618"/>
              <a:gd name="connsiteX12" fmla="*/ 449656 w 1023042"/>
              <a:gd name="connsiteY12" fmla="*/ 522083 h 612618"/>
              <a:gd name="connsiteX13" fmla="*/ 624689 w 1023042"/>
              <a:gd name="connsiteY13" fmla="*/ 488887 h 612618"/>
              <a:gd name="connsiteX14" fmla="*/ 781616 w 1023042"/>
              <a:gd name="connsiteY14" fmla="*/ 464744 h 612618"/>
              <a:gd name="connsiteX15" fmla="*/ 841972 w 1023042"/>
              <a:gd name="connsiteY15" fmla="*/ 446637 h 612618"/>
              <a:gd name="connsiteX16" fmla="*/ 919330 w 1023042"/>
              <a:gd name="connsiteY16" fmla="*/ 406769 h 612618"/>
              <a:gd name="connsiteX17" fmla="*/ 941560 w 1023042"/>
              <a:gd name="connsiteY17" fmla="*/ 356103 h 612618"/>
              <a:gd name="connsiteX18" fmla="*/ 962685 w 1023042"/>
              <a:gd name="connsiteY18" fmla="*/ 301782 h 612618"/>
              <a:gd name="connsiteX19" fmla="*/ 989846 w 1023042"/>
              <a:gd name="connsiteY19" fmla="*/ 274622 h 612618"/>
              <a:gd name="connsiteX20" fmla="*/ 1023042 w 1023042"/>
              <a:gd name="connsiteY20" fmla="*/ 241426 h 612618"/>
              <a:gd name="connsiteX21" fmla="*/ 1010970 w 1023042"/>
              <a:gd name="connsiteY21" fmla="*/ 190123 h 612618"/>
              <a:gd name="connsiteX22" fmla="*/ 959667 w 1023042"/>
              <a:gd name="connsiteY22" fmla="*/ 156927 h 612618"/>
              <a:gd name="connsiteX23" fmla="*/ 932507 w 1023042"/>
              <a:gd name="connsiteY23" fmla="*/ 57338 h 612618"/>
              <a:gd name="connsiteX24" fmla="*/ 917418 w 1023042"/>
              <a:gd name="connsiteY24" fmla="*/ 54321 h 612618"/>
              <a:gd name="connsiteX25" fmla="*/ 899311 w 1023042"/>
              <a:gd name="connsiteY25" fmla="*/ 33196 h 612618"/>
              <a:gd name="connsiteX26" fmla="*/ 878186 w 1023042"/>
              <a:gd name="connsiteY26" fmla="*/ 27160 h 612618"/>
              <a:gd name="connsiteX27" fmla="*/ 860079 w 1023042"/>
              <a:gd name="connsiteY27" fmla="*/ 0 h 612618"/>
              <a:gd name="connsiteX28" fmla="*/ 817830 w 1023042"/>
              <a:gd name="connsiteY28" fmla="*/ 21125 h 612618"/>
              <a:gd name="connsiteX29" fmla="*/ 754456 w 1023042"/>
              <a:gd name="connsiteY29" fmla="*/ 30178 h 612618"/>
              <a:gd name="connsiteX30" fmla="*/ 715224 w 1023042"/>
              <a:gd name="connsiteY30" fmla="*/ 30178 h 612618"/>
              <a:gd name="connsiteX31" fmla="*/ 654867 w 1023042"/>
              <a:gd name="connsiteY31" fmla="*/ 36214 h 612618"/>
              <a:gd name="connsiteX32" fmla="*/ 618654 w 1023042"/>
              <a:gd name="connsiteY32" fmla="*/ 18107 h 612618"/>
              <a:gd name="connsiteX33" fmla="*/ 582440 w 1023042"/>
              <a:gd name="connsiteY33" fmla="*/ 6036 h 612618"/>
              <a:gd name="connsiteX34" fmla="*/ 561315 w 1023042"/>
              <a:gd name="connsiteY34" fmla="*/ 27160 h 612618"/>
              <a:gd name="connsiteX35" fmla="*/ 588475 w 1023042"/>
              <a:gd name="connsiteY35" fmla="*/ 60356 h 612618"/>
              <a:gd name="connsiteX36" fmla="*/ 591493 w 1023042"/>
              <a:gd name="connsiteY36" fmla="*/ 84499 h 612618"/>
              <a:gd name="connsiteX37" fmla="*/ 546226 w 1023042"/>
              <a:gd name="connsiteY37" fmla="*/ 96570 h 612618"/>
              <a:gd name="connsiteX38" fmla="*/ 513030 w 1023042"/>
              <a:gd name="connsiteY38" fmla="*/ 108641 h 612618"/>
              <a:gd name="connsiteX39" fmla="*/ 473798 w 1023042"/>
              <a:gd name="connsiteY39" fmla="*/ 117695 h 612618"/>
              <a:gd name="connsiteX40" fmla="*/ 473798 w 1023042"/>
              <a:gd name="connsiteY40" fmla="*/ 181069 h 612618"/>
              <a:gd name="connsiteX41" fmla="*/ 437584 w 1023042"/>
              <a:gd name="connsiteY41" fmla="*/ 214265 h 612618"/>
              <a:gd name="connsiteX42" fmla="*/ 416459 w 1023042"/>
              <a:gd name="connsiteY42" fmla="*/ 247461 h 612618"/>
              <a:gd name="connsiteX43" fmla="*/ 392317 w 1023042"/>
              <a:gd name="connsiteY43" fmla="*/ 259533 h 612618"/>
              <a:gd name="connsiteX44" fmla="*/ 365157 w 1023042"/>
              <a:gd name="connsiteY44" fmla="*/ 235390 h 612618"/>
              <a:gd name="connsiteX45" fmla="*/ 356103 w 1023042"/>
              <a:gd name="connsiteY45" fmla="*/ 253497 h 612618"/>
              <a:gd name="connsiteX46" fmla="*/ 356103 w 1023042"/>
              <a:gd name="connsiteY46" fmla="*/ 277639 h 612618"/>
              <a:gd name="connsiteX47" fmla="*/ 356103 w 1023042"/>
              <a:gd name="connsiteY47" fmla="*/ 298764 h 612618"/>
              <a:gd name="connsiteX48" fmla="*/ 334978 w 1023042"/>
              <a:gd name="connsiteY48" fmla="*/ 286693 h 612618"/>
              <a:gd name="connsiteX49" fmla="*/ 316871 w 1023042"/>
              <a:gd name="connsiteY49" fmla="*/ 283675 h 612618"/>
              <a:gd name="connsiteX50" fmla="*/ 277640 w 1023042"/>
              <a:gd name="connsiteY50" fmla="*/ 316871 h 612618"/>
              <a:gd name="connsiteX51" fmla="*/ 262551 w 1023042"/>
              <a:gd name="connsiteY51" fmla="*/ 328942 h 612618"/>
              <a:gd name="connsiteX52" fmla="*/ 229355 w 1023042"/>
              <a:gd name="connsiteY52" fmla="*/ 334978 h 612618"/>
              <a:gd name="connsiteX53" fmla="*/ 211248 w 1023042"/>
              <a:gd name="connsiteY53" fmla="*/ 316871 h 612618"/>
              <a:gd name="connsiteX54" fmla="*/ 196158 w 1023042"/>
              <a:gd name="connsiteY54" fmla="*/ 310836 h 612618"/>
              <a:gd name="connsiteX55" fmla="*/ 132784 w 1023042"/>
              <a:gd name="connsiteY55" fmla="*/ 350067 h 612618"/>
              <a:gd name="connsiteX0" fmla="*/ 132784 w 1023042"/>
              <a:gd name="connsiteY0" fmla="*/ 350067 h 612618"/>
              <a:gd name="connsiteX1" fmla="*/ 141838 w 1023042"/>
              <a:gd name="connsiteY1" fmla="*/ 425513 h 612618"/>
              <a:gd name="connsiteX2" fmla="*/ 93553 w 1023042"/>
              <a:gd name="connsiteY2" fmla="*/ 452673 h 612618"/>
              <a:gd name="connsiteX3" fmla="*/ 90535 w 1023042"/>
              <a:gd name="connsiteY3" fmla="*/ 488887 h 612618"/>
              <a:gd name="connsiteX4" fmla="*/ 90535 w 1023042"/>
              <a:gd name="connsiteY4" fmla="*/ 503976 h 612618"/>
              <a:gd name="connsiteX5" fmla="*/ 0 w 1023042"/>
              <a:gd name="connsiteY5" fmla="*/ 482851 h 612618"/>
              <a:gd name="connsiteX6" fmla="*/ 0 w 1023042"/>
              <a:gd name="connsiteY6" fmla="*/ 570368 h 612618"/>
              <a:gd name="connsiteX7" fmla="*/ 15089 w 1023042"/>
              <a:gd name="connsiteY7" fmla="*/ 612618 h 612618"/>
              <a:gd name="connsiteX8" fmla="*/ 75446 w 1023042"/>
              <a:gd name="connsiteY8" fmla="*/ 609600 h 612618"/>
              <a:gd name="connsiteX9" fmla="*/ 135802 w 1023042"/>
              <a:gd name="connsiteY9" fmla="*/ 597529 h 612618"/>
              <a:gd name="connsiteX10" fmla="*/ 208230 w 1023042"/>
              <a:gd name="connsiteY10" fmla="*/ 564333 h 612618"/>
              <a:gd name="connsiteX11" fmla="*/ 310836 w 1023042"/>
              <a:gd name="connsiteY11" fmla="*/ 549243 h 612618"/>
              <a:gd name="connsiteX12" fmla="*/ 449656 w 1023042"/>
              <a:gd name="connsiteY12" fmla="*/ 522083 h 612618"/>
              <a:gd name="connsiteX13" fmla="*/ 624689 w 1023042"/>
              <a:gd name="connsiteY13" fmla="*/ 488887 h 612618"/>
              <a:gd name="connsiteX14" fmla="*/ 781616 w 1023042"/>
              <a:gd name="connsiteY14" fmla="*/ 464744 h 612618"/>
              <a:gd name="connsiteX15" fmla="*/ 841972 w 1023042"/>
              <a:gd name="connsiteY15" fmla="*/ 446637 h 612618"/>
              <a:gd name="connsiteX16" fmla="*/ 919330 w 1023042"/>
              <a:gd name="connsiteY16" fmla="*/ 406769 h 612618"/>
              <a:gd name="connsiteX17" fmla="*/ 941560 w 1023042"/>
              <a:gd name="connsiteY17" fmla="*/ 356103 h 612618"/>
              <a:gd name="connsiteX18" fmla="*/ 962685 w 1023042"/>
              <a:gd name="connsiteY18" fmla="*/ 301782 h 612618"/>
              <a:gd name="connsiteX19" fmla="*/ 989846 w 1023042"/>
              <a:gd name="connsiteY19" fmla="*/ 274622 h 612618"/>
              <a:gd name="connsiteX20" fmla="*/ 1023042 w 1023042"/>
              <a:gd name="connsiteY20" fmla="*/ 241426 h 612618"/>
              <a:gd name="connsiteX21" fmla="*/ 1010970 w 1023042"/>
              <a:gd name="connsiteY21" fmla="*/ 190123 h 612618"/>
              <a:gd name="connsiteX22" fmla="*/ 959667 w 1023042"/>
              <a:gd name="connsiteY22" fmla="*/ 156927 h 612618"/>
              <a:gd name="connsiteX23" fmla="*/ 932507 w 1023042"/>
              <a:gd name="connsiteY23" fmla="*/ 57338 h 612618"/>
              <a:gd name="connsiteX24" fmla="*/ 917418 w 1023042"/>
              <a:gd name="connsiteY24" fmla="*/ 54321 h 612618"/>
              <a:gd name="connsiteX25" fmla="*/ 899311 w 1023042"/>
              <a:gd name="connsiteY25" fmla="*/ 33196 h 612618"/>
              <a:gd name="connsiteX26" fmla="*/ 878186 w 1023042"/>
              <a:gd name="connsiteY26" fmla="*/ 27160 h 612618"/>
              <a:gd name="connsiteX27" fmla="*/ 860079 w 1023042"/>
              <a:gd name="connsiteY27" fmla="*/ 0 h 612618"/>
              <a:gd name="connsiteX28" fmla="*/ 817830 w 1023042"/>
              <a:gd name="connsiteY28" fmla="*/ 21125 h 612618"/>
              <a:gd name="connsiteX29" fmla="*/ 754456 w 1023042"/>
              <a:gd name="connsiteY29" fmla="*/ 30178 h 612618"/>
              <a:gd name="connsiteX30" fmla="*/ 715224 w 1023042"/>
              <a:gd name="connsiteY30" fmla="*/ 30178 h 612618"/>
              <a:gd name="connsiteX31" fmla="*/ 654867 w 1023042"/>
              <a:gd name="connsiteY31" fmla="*/ 36214 h 612618"/>
              <a:gd name="connsiteX32" fmla="*/ 618654 w 1023042"/>
              <a:gd name="connsiteY32" fmla="*/ 18107 h 612618"/>
              <a:gd name="connsiteX33" fmla="*/ 582440 w 1023042"/>
              <a:gd name="connsiteY33" fmla="*/ 6036 h 612618"/>
              <a:gd name="connsiteX34" fmla="*/ 561315 w 1023042"/>
              <a:gd name="connsiteY34" fmla="*/ 27160 h 612618"/>
              <a:gd name="connsiteX35" fmla="*/ 588475 w 1023042"/>
              <a:gd name="connsiteY35" fmla="*/ 60356 h 612618"/>
              <a:gd name="connsiteX36" fmla="*/ 591493 w 1023042"/>
              <a:gd name="connsiteY36" fmla="*/ 84499 h 612618"/>
              <a:gd name="connsiteX37" fmla="*/ 546226 w 1023042"/>
              <a:gd name="connsiteY37" fmla="*/ 96570 h 612618"/>
              <a:gd name="connsiteX38" fmla="*/ 513030 w 1023042"/>
              <a:gd name="connsiteY38" fmla="*/ 108641 h 612618"/>
              <a:gd name="connsiteX39" fmla="*/ 459502 w 1023042"/>
              <a:gd name="connsiteY39" fmla="*/ 112933 h 612618"/>
              <a:gd name="connsiteX40" fmla="*/ 473798 w 1023042"/>
              <a:gd name="connsiteY40" fmla="*/ 181069 h 612618"/>
              <a:gd name="connsiteX41" fmla="*/ 437584 w 1023042"/>
              <a:gd name="connsiteY41" fmla="*/ 214265 h 612618"/>
              <a:gd name="connsiteX42" fmla="*/ 416459 w 1023042"/>
              <a:gd name="connsiteY42" fmla="*/ 247461 h 612618"/>
              <a:gd name="connsiteX43" fmla="*/ 392317 w 1023042"/>
              <a:gd name="connsiteY43" fmla="*/ 259533 h 612618"/>
              <a:gd name="connsiteX44" fmla="*/ 365157 w 1023042"/>
              <a:gd name="connsiteY44" fmla="*/ 235390 h 612618"/>
              <a:gd name="connsiteX45" fmla="*/ 356103 w 1023042"/>
              <a:gd name="connsiteY45" fmla="*/ 253497 h 612618"/>
              <a:gd name="connsiteX46" fmla="*/ 356103 w 1023042"/>
              <a:gd name="connsiteY46" fmla="*/ 277639 h 612618"/>
              <a:gd name="connsiteX47" fmla="*/ 356103 w 1023042"/>
              <a:gd name="connsiteY47" fmla="*/ 298764 h 612618"/>
              <a:gd name="connsiteX48" fmla="*/ 334978 w 1023042"/>
              <a:gd name="connsiteY48" fmla="*/ 286693 h 612618"/>
              <a:gd name="connsiteX49" fmla="*/ 316871 w 1023042"/>
              <a:gd name="connsiteY49" fmla="*/ 283675 h 612618"/>
              <a:gd name="connsiteX50" fmla="*/ 277640 w 1023042"/>
              <a:gd name="connsiteY50" fmla="*/ 316871 h 612618"/>
              <a:gd name="connsiteX51" fmla="*/ 262551 w 1023042"/>
              <a:gd name="connsiteY51" fmla="*/ 328942 h 612618"/>
              <a:gd name="connsiteX52" fmla="*/ 229355 w 1023042"/>
              <a:gd name="connsiteY52" fmla="*/ 334978 h 612618"/>
              <a:gd name="connsiteX53" fmla="*/ 211248 w 1023042"/>
              <a:gd name="connsiteY53" fmla="*/ 316871 h 612618"/>
              <a:gd name="connsiteX54" fmla="*/ 196158 w 1023042"/>
              <a:gd name="connsiteY54" fmla="*/ 310836 h 612618"/>
              <a:gd name="connsiteX55" fmla="*/ 132784 w 1023042"/>
              <a:gd name="connsiteY55" fmla="*/ 350067 h 612618"/>
              <a:gd name="connsiteX0" fmla="*/ 132784 w 1023042"/>
              <a:gd name="connsiteY0" fmla="*/ 350067 h 612618"/>
              <a:gd name="connsiteX1" fmla="*/ 141838 w 1023042"/>
              <a:gd name="connsiteY1" fmla="*/ 425513 h 612618"/>
              <a:gd name="connsiteX2" fmla="*/ 93553 w 1023042"/>
              <a:gd name="connsiteY2" fmla="*/ 452673 h 612618"/>
              <a:gd name="connsiteX3" fmla="*/ 90535 w 1023042"/>
              <a:gd name="connsiteY3" fmla="*/ 488887 h 612618"/>
              <a:gd name="connsiteX4" fmla="*/ 90535 w 1023042"/>
              <a:gd name="connsiteY4" fmla="*/ 503976 h 612618"/>
              <a:gd name="connsiteX5" fmla="*/ 0 w 1023042"/>
              <a:gd name="connsiteY5" fmla="*/ 482851 h 612618"/>
              <a:gd name="connsiteX6" fmla="*/ 0 w 1023042"/>
              <a:gd name="connsiteY6" fmla="*/ 570368 h 612618"/>
              <a:gd name="connsiteX7" fmla="*/ 15089 w 1023042"/>
              <a:gd name="connsiteY7" fmla="*/ 612618 h 612618"/>
              <a:gd name="connsiteX8" fmla="*/ 75446 w 1023042"/>
              <a:gd name="connsiteY8" fmla="*/ 609600 h 612618"/>
              <a:gd name="connsiteX9" fmla="*/ 135802 w 1023042"/>
              <a:gd name="connsiteY9" fmla="*/ 597529 h 612618"/>
              <a:gd name="connsiteX10" fmla="*/ 208230 w 1023042"/>
              <a:gd name="connsiteY10" fmla="*/ 564333 h 612618"/>
              <a:gd name="connsiteX11" fmla="*/ 310836 w 1023042"/>
              <a:gd name="connsiteY11" fmla="*/ 549243 h 612618"/>
              <a:gd name="connsiteX12" fmla="*/ 449656 w 1023042"/>
              <a:gd name="connsiteY12" fmla="*/ 522083 h 612618"/>
              <a:gd name="connsiteX13" fmla="*/ 624689 w 1023042"/>
              <a:gd name="connsiteY13" fmla="*/ 488887 h 612618"/>
              <a:gd name="connsiteX14" fmla="*/ 781616 w 1023042"/>
              <a:gd name="connsiteY14" fmla="*/ 464744 h 612618"/>
              <a:gd name="connsiteX15" fmla="*/ 841972 w 1023042"/>
              <a:gd name="connsiteY15" fmla="*/ 446637 h 612618"/>
              <a:gd name="connsiteX16" fmla="*/ 919330 w 1023042"/>
              <a:gd name="connsiteY16" fmla="*/ 406769 h 612618"/>
              <a:gd name="connsiteX17" fmla="*/ 941560 w 1023042"/>
              <a:gd name="connsiteY17" fmla="*/ 356103 h 612618"/>
              <a:gd name="connsiteX18" fmla="*/ 962685 w 1023042"/>
              <a:gd name="connsiteY18" fmla="*/ 301782 h 612618"/>
              <a:gd name="connsiteX19" fmla="*/ 989846 w 1023042"/>
              <a:gd name="connsiteY19" fmla="*/ 274622 h 612618"/>
              <a:gd name="connsiteX20" fmla="*/ 1023042 w 1023042"/>
              <a:gd name="connsiteY20" fmla="*/ 241426 h 612618"/>
              <a:gd name="connsiteX21" fmla="*/ 1010970 w 1023042"/>
              <a:gd name="connsiteY21" fmla="*/ 190123 h 612618"/>
              <a:gd name="connsiteX22" fmla="*/ 959667 w 1023042"/>
              <a:gd name="connsiteY22" fmla="*/ 156927 h 612618"/>
              <a:gd name="connsiteX23" fmla="*/ 932507 w 1023042"/>
              <a:gd name="connsiteY23" fmla="*/ 57338 h 612618"/>
              <a:gd name="connsiteX24" fmla="*/ 917418 w 1023042"/>
              <a:gd name="connsiteY24" fmla="*/ 54321 h 612618"/>
              <a:gd name="connsiteX25" fmla="*/ 899311 w 1023042"/>
              <a:gd name="connsiteY25" fmla="*/ 33196 h 612618"/>
              <a:gd name="connsiteX26" fmla="*/ 878186 w 1023042"/>
              <a:gd name="connsiteY26" fmla="*/ 27160 h 612618"/>
              <a:gd name="connsiteX27" fmla="*/ 860079 w 1023042"/>
              <a:gd name="connsiteY27" fmla="*/ 0 h 612618"/>
              <a:gd name="connsiteX28" fmla="*/ 817830 w 1023042"/>
              <a:gd name="connsiteY28" fmla="*/ 21125 h 612618"/>
              <a:gd name="connsiteX29" fmla="*/ 754456 w 1023042"/>
              <a:gd name="connsiteY29" fmla="*/ 30178 h 612618"/>
              <a:gd name="connsiteX30" fmla="*/ 715224 w 1023042"/>
              <a:gd name="connsiteY30" fmla="*/ 30178 h 612618"/>
              <a:gd name="connsiteX31" fmla="*/ 654867 w 1023042"/>
              <a:gd name="connsiteY31" fmla="*/ 36214 h 612618"/>
              <a:gd name="connsiteX32" fmla="*/ 618654 w 1023042"/>
              <a:gd name="connsiteY32" fmla="*/ 18107 h 612618"/>
              <a:gd name="connsiteX33" fmla="*/ 582440 w 1023042"/>
              <a:gd name="connsiteY33" fmla="*/ 6036 h 612618"/>
              <a:gd name="connsiteX34" fmla="*/ 561315 w 1023042"/>
              <a:gd name="connsiteY34" fmla="*/ 27160 h 612618"/>
              <a:gd name="connsiteX35" fmla="*/ 588475 w 1023042"/>
              <a:gd name="connsiteY35" fmla="*/ 60356 h 612618"/>
              <a:gd name="connsiteX36" fmla="*/ 591493 w 1023042"/>
              <a:gd name="connsiteY36" fmla="*/ 84499 h 612618"/>
              <a:gd name="connsiteX37" fmla="*/ 546226 w 1023042"/>
              <a:gd name="connsiteY37" fmla="*/ 96570 h 612618"/>
              <a:gd name="connsiteX38" fmla="*/ 513030 w 1023042"/>
              <a:gd name="connsiteY38" fmla="*/ 108641 h 612618"/>
              <a:gd name="connsiteX39" fmla="*/ 459502 w 1023042"/>
              <a:gd name="connsiteY39" fmla="*/ 112933 h 612618"/>
              <a:gd name="connsiteX40" fmla="*/ 464267 w 1023042"/>
              <a:gd name="connsiteY40" fmla="*/ 181069 h 612618"/>
              <a:gd name="connsiteX41" fmla="*/ 437584 w 1023042"/>
              <a:gd name="connsiteY41" fmla="*/ 214265 h 612618"/>
              <a:gd name="connsiteX42" fmla="*/ 416459 w 1023042"/>
              <a:gd name="connsiteY42" fmla="*/ 247461 h 612618"/>
              <a:gd name="connsiteX43" fmla="*/ 392317 w 1023042"/>
              <a:gd name="connsiteY43" fmla="*/ 259533 h 612618"/>
              <a:gd name="connsiteX44" fmla="*/ 365157 w 1023042"/>
              <a:gd name="connsiteY44" fmla="*/ 235390 h 612618"/>
              <a:gd name="connsiteX45" fmla="*/ 356103 w 1023042"/>
              <a:gd name="connsiteY45" fmla="*/ 253497 h 612618"/>
              <a:gd name="connsiteX46" fmla="*/ 356103 w 1023042"/>
              <a:gd name="connsiteY46" fmla="*/ 277639 h 612618"/>
              <a:gd name="connsiteX47" fmla="*/ 356103 w 1023042"/>
              <a:gd name="connsiteY47" fmla="*/ 298764 h 612618"/>
              <a:gd name="connsiteX48" fmla="*/ 334978 w 1023042"/>
              <a:gd name="connsiteY48" fmla="*/ 286693 h 612618"/>
              <a:gd name="connsiteX49" fmla="*/ 316871 w 1023042"/>
              <a:gd name="connsiteY49" fmla="*/ 283675 h 612618"/>
              <a:gd name="connsiteX50" fmla="*/ 277640 w 1023042"/>
              <a:gd name="connsiteY50" fmla="*/ 316871 h 612618"/>
              <a:gd name="connsiteX51" fmla="*/ 262551 w 1023042"/>
              <a:gd name="connsiteY51" fmla="*/ 328942 h 612618"/>
              <a:gd name="connsiteX52" fmla="*/ 229355 w 1023042"/>
              <a:gd name="connsiteY52" fmla="*/ 334978 h 612618"/>
              <a:gd name="connsiteX53" fmla="*/ 211248 w 1023042"/>
              <a:gd name="connsiteY53" fmla="*/ 316871 h 612618"/>
              <a:gd name="connsiteX54" fmla="*/ 196158 w 1023042"/>
              <a:gd name="connsiteY54" fmla="*/ 310836 h 612618"/>
              <a:gd name="connsiteX55" fmla="*/ 132784 w 1023042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41560 w 1032573"/>
              <a:gd name="connsiteY17" fmla="*/ 356103 h 612618"/>
              <a:gd name="connsiteX18" fmla="*/ 962685 w 1032573"/>
              <a:gd name="connsiteY18" fmla="*/ 301782 h 612618"/>
              <a:gd name="connsiteX19" fmla="*/ 989846 w 1032573"/>
              <a:gd name="connsiteY19" fmla="*/ 274622 h 612618"/>
              <a:gd name="connsiteX20" fmla="*/ 1032573 w 1032573"/>
              <a:gd name="connsiteY20" fmla="*/ 255709 h 612618"/>
              <a:gd name="connsiteX21" fmla="*/ 1010970 w 1032573"/>
              <a:gd name="connsiteY21" fmla="*/ 190123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88475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41560 w 1032573"/>
              <a:gd name="connsiteY17" fmla="*/ 356103 h 612618"/>
              <a:gd name="connsiteX18" fmla="*/ 962685 w 1032573"/>
              <a:gd name="connsiteY18" fmla="*/ 301782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0970 w 1032573"/>
              <a:gd name="connsiteY21" fmla="*/ 190123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88475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41560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0970 w 1032573"/>
              <a:gd name="connsiteY21" fmla="*/ 190123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88475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41560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88475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88475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91493 w 1032573"/>
              <a:gd name="connsiteY36" fmla="*/ 84499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5157 w 1032573"/>
              <a:gd name="connsiteY44" fmla="*/ 235390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2773 w 1032573"/>
              <a:gd name="connsiteY44" fmla="*/ 225867 h 612618"/>
              <a:gd name="connsiteX45" fmla="*/ 356103 w 1032573"/>
              <a:gd name="connsiteY45" fmla="*/ 253497 h 612618"/>
              <a:gd name="connsiteX46" fmla="*/ 356103 w 1032573"/>
              <a:gd name="connsiteY46" fmla="*/ 277639 h 612618"/>
              <a:gd name="connsiteX47" fmla="*/ 356103 w 1032573"/>
              <a:gd name="connsiteY47" fmla="*/ 298764 h 612618"/>
              <a:gd name="connsiteX48" fmla="*/ 334978 w 1032573"/>
              <a:gd name="connsiteY48" fmla="*/ 286693 h 612618"/>
              <a:gd name="connsiteX49" fmla="*/ 316871 w 1032573"/>
              <a:gd name="connsiteY49" fmla="*/ 283675 h 612618"/>
              <a:gd name="connsiteX50" fmla="*/ 277640 w 1032573"/>
              <a:gd name="connsiteY50" fmla="*/ 316871 h 612618"/>
              <a:gd name="connsiteX51" fmla="*/ 262551 w 1032573"/>
              <a:gd name="connsiteY51" fmla="*/ 328942 h 612618"/>
              <a:gd name="connsiteX52" fmla="*/ 229355 w 1032573"/>
              <a:gd name="connsiteY52" fmla="*/ 334978 h 612618"/>
              <a:gd name="connsiteX53" fmla="*/ 211248 w 1032573"/>
              <a:gd name="connsiteY53" fmla="*/ 316871 h 612618"/>
              <a:gd name="connsiteX54" fmla="*/ 196158 w 1032573"/>
              <a:gd name="connsiteY54" fmla="*/ 310836 h 612618"/>
              <a:gd name="connsiteX55" fmla="*/ 132784 w 1032573"/>
              <a:gd name="connsiteY55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2773 w 1032573"/>
              <a:gd name="connsiteY44" fmla="*/ 225867 h 612618"/>
              <a:gd name="connsiteX45" fmla="*/ 356103 w 1032573"/>
              <a:gd name="connsiteY45" fmla="*/ 277639 h 612618"/>
              <a:gd name="connsiteX46" fmla="*/ 356103 w 1032573"/>
              <a:gd name="connsiteY46" fmla="*/ 298764 h 612618"/>
              <a:gd name="connsiteX47" fmla="*/ 334978 w 1032573"/>
              <a:gd name="connsiteY47" fmla="*/ 286693 h 612618"/>
              <a:gd name="connsiteX48" fmla="*/ 316871 w 1032573"/>
              <a:gd name="connsiteY48" fmla="*/ 283675 h 612618"/>
              <a:gd name="connsiteX49" fmla="*/ 277640 w 1032573"/>
              <a:gd name="connsiteY49" fmla="*/ 316871 h 612618"/>
              <a:gd name="connsiteX50" fmla="*/ 262551 w 1032573"/>
              <a:gd name="connsiteY50" fmla="*/ 328942 h 612618"/>
              <a:gd name="connsiteX51" fmla="*/ 229355 w 1032573"/>
              <a:gd name="connsiteY51" fmla="*/ 334978 h 612618"/>
              <a:gd name="connsiteX52" fmla="*/ 211248 w 1032573"/>
              <a:gd name="connsiteY52" fmla="*/ 316871 h 612618"/>
              <a:gd name="connsiteX53" fmla="*/ 196158 w 1032573"/>
              <a:gd name="connsiteY53" fmla="*/ 310836 h 612618"/>
              <a:gd name="connsiteX54" fmla="*/ 132784 w 1032573"/>
              <a:gd name="connsiteY54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62773 w 1032573"/>
              <a:gd name="connsiteY44" fmla="*/ 225867 h 612618"/>
              <a:gd name="connsiteX45" fmla="*/ 356103 w 1032573"/>
              <a:gd name="connsiteY45" fmla="*/ 298764 h 612618"/>
              <a:gd name="connsiteX46" fmla="*/ 334978 w 1032573"/>
              <a:gd name="connsiteY46" fmla="*/ 286693 h 612618"/>
              <a:gd name="connsiteX47" fmla="*/ 316871 w 1032573"/>
              <a:gd name="connsiteY47" fmla="*/ 283675 h 612618"/>
              <a:gd name="connsiteX48" fmla="*/ 277640 w 1032573"/>
              <a:gd name="connsiteY48" fmla="*/ 316871 h 612618"/>
              <a:gd name="connsiteX49" fmla="*/ 262551 w 1032573"/>
              <a:gd name="connsiteY49" fmla="*/ 328942 h 612618"/>
              <a:gd name="connsiteX50" fmla="*/ 229355 w 1032573"/>
              <a:gd name="connsiteY50" fmla="*/ 334978 h 612618"/>
              <a:gd name="connsiteX51" fmla="*/ 211248 w 1032573"/>
              <a:gd name="connsiteY51" fmla="*/ 316871 h 612618"/>
              <a:gd name="connsiteX52" fmla="*/ 196158 w 1032573"/>
              <a:gd name="connsiteY52" fmla="*/ 310836 h 612618"/>
              <a:gd name="connsiteX53" fmla="*/ 132784 w 1032573"/>
              <a:gd name="connsiteY53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53242 w 1032573"/>
              <a:gd name="connsiteY44" fmla="*/ 223486 h 612618"/>
              <a:gd name="connsiteX45" fmla="*/ 356103 w 1032573"/>
              <a:gd name="connsiteY45" fmla="*/ 298764 h 612618"/>
              <a:gd name="connsiteX46" fmla="*/ 334978 w 1032573"/>
              <a:gd name="connsiteY46" fmla="*/ 286693 h 612618"/>
              <a:gd name="connsiteX47" fmla="*/ 316871 w 1032573"/>
              <a:gd name="connsiteY47" fmla="*/ 283675 h 612618"/>
              <a:gd name="connsiteX48" fmla="*/ 277640 w 1032573"/>
              <a:gd name="connsiteY48" fmla="*/ 316871 h 612618"/>
              <a:gd name="connsiteX49" fmla="*/ 262551 w 1032573"/>
              <a:gd name="connsiteY49" fmla="*/ 328942 h 612618"/>
              <a:gd name="connsiteX50" fmla="*/ 229355 w 1032573"/>
              <a:gd name="connsiteY50" fmla="*/ 334978 h 612618"/>
              <a:gd name="connsiteX51" fmla="*/ 211248 w 1032573"/>
              <a:gd name="connsiteY51" fmla="*/ 316871 h 612618"/>
              <a:gd name="connsiteX52" fmla="*/ 196158 w 1032573"/>
              <a:gd name="connsiteY52" fmla="*/ 310836 h 612618"/>
              <a:gd name="connsiteX53" fmla="*/ 132784 w 1032573"/>
              <a:gd name="connsiteY53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53242 w 1032573"/>
              <a:gd name="connsiteY44" fmla="*/ 223486 h 612618"/>
              <a:gd name="connsiteX45" fmla="*/ 356103 w 1032573"/>
              <a:gd name="connsiteY45" fmla="*/ 298764 h 612618"/>
              <a:gd name="connsiteX46" fmla="*/ 334978 w 1032573"/>
              <a:gd name="connsiteY46" fmla="*/ 286693 h 612618"/>
              <a:gd name="connsiteX47" fmla="*/ 316871 w 1032573"/>
              <a:gd name="connsiteY47" fmla="*/ 283675 h 612618"/>
              <a:gd name="connsiteX48" fmla="*/ 277640 w 1032573"/>
              <a:gd name="connsiteY48" fmla="*/ 316871 h 612618"/>
              <a:gd name="connsiteX49" fmla="*/ 262551 w 1032573"/>
              <a:gd name="connsiteY49" fmla="*/ 317039 h 612618"/>
              <a:gd name="connsiteX50" fmla="*/ 229355 w 1032573"/>
              <a:gd name="connsiteY50" fmla="*/ 334978 h 612618"/>
              <a:gd name="connsiteX51" fmla="*/ 211248 w 1032573"/>
              <a:gd name="connsiteY51" fmla="*/ 316871 h 612618"/>
              <a:gd name="connsiteX52" fmla="*/ 196158 w 1032573"/>
              <a:gd name="connsiteY52" fmla="*/ 310836 h 612618"/>
              <a:gd name="connsiteX53" fmla="*/ 132784 w 1032573"/>
              <a:gd name="connsiteY53" fmla="*/ 350067 h 612618"/>
              <a:gd name="connsiteX0" fmla="*/ 132784 w 1032573"/>
              <a:gd name="connsiteY0" fmla="*/ 350067 h 612618"/>
              <a:gd name="connsiteX1" fmla="*/ 141838 w 1032573"/>
              <a:gd name="connsiteY1" fmla="*/ 425513 h 612618"/>
              <a:gd name="connsiteX2" fmla="*/ 93553 w 1032573"/>
              <a:gd name="connsiteY2" fmla="*/ 452673 h 612618"/>
              <a:gd name="connsiteX3" fmla="*/ 90535 w 1032573"/>
              <a:gd name="connsiteY3" fmla="*/ 488887 h 612618"/>
              <a:gd name="connsiteX4" fmla="*/ 90535 w 1032573"/>
              <a:gd name="connsiteY4" fmla="*/ 503976 h 612618"/>
              <a:gd name="connsiteX5" fmla="*/ 0 w 1032573"/>
              <a:gd name="connsiteY5" fmla="*/ 482851 h 612618"/>
              <a:gd name="connsiteX6" fmla="*/ 0 w 1032573"/>
              <a:gd name="connsiteY6" fmla="*/ 570368 h 612618"/>
              <a:gd name="connsiteX7" fmla="*/ 15089 w 1032573"/>
              <a:gd name="connsiteY7" fmla="*/ 612618 h 612618"/>
              <a:gd name="connsiteX8" fmla="*/ 75446 w 1032573"/>
              <a:gd name="connsiteY8" fmla="*/ 609600 h 612618"/>
              <a:gd name="connsiteX9" fmla="*/ 135802 w 1032573"/>
              <a:gd name="connsiteY9" fmla="*/ 597529 h 612618"/>
              <a:gd name="connsiteX10" fmla="*/ 208230 w 1032573"/>
              <a:gd name="connsiteY10" fmla="*/ 564333 h 612618"/>
              <a:gd name="connsiteX11" fmla="*/ 310836 w 1032573"/>
              <a:gd name="connsiteY11" fmla="*/ 549243 h 612618"/>
              <a:gd name="connsiteX12" fmla="*/ 449656 w 1032573"/>
              <a:gd name="connsiteY12" fmla="*/ 522083 h 612618"/>
              <a:gd name="connsiteX13" fmla="*/ 624689 w 1032573"/>
              <a:gd name="connsiteY13" fmla="*/ 488887 h 612618"/>
              <a:gd name="connsiteX14" fmla="*/ 781616 w 1032573"/>
              <a:gd name="connsiteY14" fmla="*/ 464744 h 612618"/>
              <a:gd name="connsiteX15" fmla="*/ 841972 w 1032573"/>
              <a:gd name="connsiteY15" fmla="*/ 446637 h 612618"/>
              <a:gd name="connsiteX16" fmla="*/ 919330 w 1032573"/>
              <a:gd name="connsiteY16" fmla="*/ 406769 h 612618"/>
              <a:gd name="connsiteX17" fmla="*/ 951092 w 1032573"/>
              <a:gd name="connsiteY17" fmla="*/ 356103 h 612618"/>
              <a:gd name="connsiteX18" fmla="*/ 969834 w 1032573"/>
              <a:gd name="connsiteY18" fmla="*/ 308924 h 612618"/>
              <a:gd name="connsiteX19" fmla="*/ 999378 w 1032573"/>
              <a:gd name="connsiteY19" fmla="*/ 281763 h 612618"/>
              <a:gd name="connsiteX20" fmla="*/ 1032573 w 1032573"/>
              <a:gd name="connsiteY20" fmla="*/ 255709 h 612618"/>
              <a:gd name="connsiteX21" fmla="*/ 1018118 w 1032573"/>
              <a:gd name="connsiteY21" fmla="*/ 180601 h 612618"/>
              <a:gd name="connsiteX22" fmla="*/ 959667 w 1032573"/>
              <a:gd name="connsiteY22" fmla="*/ 156927 h 612618"/>
              <a:gd name="connsiteX23" fmla="*/ 932507 w 1032573"/>
              <a:gd name="connsiteY23" fmla="*/ 57338 h 612618"/>
              <a:gd name="connsiteX24" fmla="*/ 917418 w 1032573"/>
              <a:gd name="connsiteY24" fmla="*/ 54321 h 612618"/>
              <a:gd name="connsiteX25" fmla="*/ 899311 w 1032573"/>
              <a:gd name="connsiteY25" fmla="*/ 33196 h 612618"/>
              <a:gd name="connsiteX26" fmla="*/ 878186 w 1032573"/>
              <a:gd name="connsiteY26" fmla="*/ 27160 h 612618"/>
              <a:gd name="connsiteX27" fmla="*/ 860079 w 1032573"/>
              <a:gd name="connsiteY27" fmla="*/ 0 h 612618"/>
              <a:gd name="connsiteX28" fmla="*/ 817830 w 1032573"/>
              <a:gd name="connsiteY28" fmla="*/ 21125 h 612618"/>
              <a:gd name="connsiteX29" fmla="*/ 754456 w 1032573"/>
              <a:gd name="connsiteY29" fmla="*/ 30178 h 612618"/>
              <a:gd name="connsiteX30" fmla="*/ 715224 w 1032573"/>
              <a:gd name="connsiteY30" fmla="*/ 30178 h 612618"/>
              <a:gd name="connsiteX31" fmla="*/ 654867 w 1032573"/>
              <a:gd name="connsiteY31" fmla="*/ 36214 h 612618"/>
              <a:gd name="connsiteX32" fmla="*/ 618654 w 1032573"/>
              <a:gd name="connsiteY32" fmla="*/ 18107 h 612618"/>
              <a:gd name="connsiteX33" fmla="*/ 582440 w 1032573"/>
              <a:gd name="connsiteY33" fmla="*/ 6036 h 612618"/>
              <a:gd name="connsiteX34" fmla="*/ 561315 w 1032573"/>
              <a:gd name="connsiteY34" fmla="*/ 27160 h 612618"/>
              <a:gd name="connsiteX35" fmla="*/ 576561 w 1032573"/>
              <a:gd name="connsiteY35" fmla="*/ 60356 h 612618"/>
              <a:gd name="connsiteX36" fmla="*/ 579579 w 1032573"/>
              <a:gd name="connsiteY36" fmla="*/ 79738 h 612618"/>
              <a:gd name="connsiteX37" fmla="*/ 546226 w 1032573"/>
              <a:gd name="connsiteY37" fmla="*/ 96570 h 612618"/>
              <a:gd name="connsiteX38" fmla="*/ 513030 w 1032573"/>
              <a:gd name="connsiteY38" fmla="*/ 108641 h 612618"/>
              <a:gd name="connsiteX39" fmla="*/ 459502 w 1032573"/>
              <a:gd name="connsiteY39" fmla="*/ 112933 h 612618"/>
              <a:gd name="connsiteX40" fmla="*/ 464267 w 1032573"/>
              <a:gd name="connsiteY40" fmla="*/ 181069 h 612618"/>
              <a:gd name="connsiteX41" fmla="*/ 437584 w 1032573"/>
              <a:gd name="connsiteY41" fmla="*/ 214265 h 612618"/>
              <a:gd name="connsiteX42" fmla="*/ 416459 w 1032573"/>
              <a:gd name="connsiteY42" fmla="*/ 247461 h 612618"/>
              <a:gd name="connsiteX43" fmla="*/ 392317 w 1032573"/>
              <a:gd name="connsiteY43" fmla="*/ 259533 h 612618"/>
              <a:gd name="connsiteX44" fmla="*/ 353242 w 1032573"/>
              <a:gd name="connsiteY44" fmla="*/ 223486 h 612618"/>
              <a:gd name="connsiteX45" fmla="*/ 356103 w 1032573"/>
              <a:gd name="connsiteY45" fmla="*/ 298764 h 612618"/>
              <a:gd name="connsiteX46" fmla="*/ 334978 w 1032573"/>
              <a:gd name="connsiteY46" fmla="*/ 286693 h 612618"/>
              <a:gd name="connsiteX47" fmla="*/ 316871 w 1032573"/>
              <a:gd name="connsiteY47" fmla="*/ 283675 h 612618"/>
              <a:gd name="connsiteX48" fmla="*/ 277640 w 1032573"/>
              <a:gd name="connsiteY48" fmla="*/ 302586 h 612618"/>
              <a:gd name="connsiteX49" fmla="*/ 262551 w 1032573"/>
              <a:gd name="connsiteY49" fmla="*/ 317039 h 612618"/>
              <a:gd name="connsiteX50" fmla="*/ 229355 w 1032573"/>
              <a:gd name="connsiteY50" fmla="*/ 334978 h 612618"/>
              <a:gd name="connsiteX51" fmla="*/ 211248 w 1032573"/>
              <a:gd name="connsiteY51" fmla="*/ 316871 h 612618"/>
              <a:gd name="connsiteX52" fmla="*/ 196158 w 1032573"/>
              <a:gd name="connsiteY52" fmla="*/ 310836 h 612618"/>
              <a:gd name="connsiteX53" fmla="*/ 132784 w 1032573"/>
              <a:gd name="connsiteY53" fmla="*/ 350067 h 612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032573" h="612618">
                <a:moveTo>
                  <a:pt x="132784" y="350067"/>
                </a:moveTo>
                <a:lnTo>
                  <a:pt x="141838" y="425513"/>
                </a:lnTo>
                <a:lnTo>
                  <a:pt x="93553" y="452673"/>
                </a:lnTo>
                <a:lnTo>
                  <a:pt x="90535" y="488887"/>
                </a:lnTo>
                <a:lnTo>
                  <a:pt x="90535" y="503976"/>
                </a:lnTo>
                <a:lnTo>
                  <a:pt x="0" y="482851"/>
                </a:lnTo>
                <a:lnTo>
                  <a:pt x="0" y="570368"/>
                </a:lnTo>
                <a:lnTo>
                  <a:pt x="15089" y="612618"/>
                </a:lnTo>
                <a:lnTo>
                  <a:pt x="75446" y="609600"/>
                </a:lnTo>
                <a:lnTo>
                  <a:pt x="135802" y="597529"/>
                </a:lnTo>
                <a:lnTo>
                  <a:pt x="208230" y="564333"/>
                </a:lnTo>
                <a:lnTo>
                  <a:pt x="310836" y="549243"/>
                </a:lnTo>
                <a:lnTo>
                  <a:pt x="449656" y="522083"/>
                </a:lnTo>
                <a:lnTo>
                  <a:pt x="624689" y="488887"/>
                </a:lnTo>
                <a:lnTo>
                  <a:pt x="781616" y="464744"/>
                </a:lnTo>
                <a:lnTo>
                  <a:pt x="841972" y="446637"/>
                </a:lnTo>
                <a:lnTo>
                  <a:pt x="919330" y="406769"/>
                </a:lnTo>
                <a:lnTo>
                  <a:pt x="951092" y="356103"/>
                </a:lnTo>
                <a:lnTo>
                  <a:pt x="969834" y="308924"/>
                </a:lnTo>
                <a:lnTo>
                  <a:pt x="999378" y="281763"/>
                </a:lnTo>
                <a:lnTo>
                  <a:pt x="1032573" y="255709"/>
                </a:lnTo>
                <a:lnTo>
                  <a:pt x="1018118" y="180601"/>
                </a:lnTo>
                <a:lnTo>
                  <a:pt x="959667" y="156927"/>
                </a:lnTo>
                <a:lnTo>
                  <a:pt x="932507" y="57338"/>
                </a:lnTo>
                <a:lnTo>
                  <a:pt x="917418" y="54321"/>
                </a:lnTo>
                <a:lnTo>
                  <a:pt x="899311" y="33196"/>
                </a:lnTo>
                <a:lnTo>
                  <a:pt x="878186" y="27160"/>
                </a:lnTo>
                <a:lnTo>
                  <a:pt x="860079" y="0"/>
                </a:lnTo>
                <a:lnTo>
                  <a:pt x="817830" y="21125"/>
                </a:lnTo>
                <a:lnTo>
                  <a:pt x="754456" y="30178"/>
                </a:lnTo>
                <a:lnTo>
                  <a:pt x="715224" y="30178"/>
                </a:lnTo>
                <a:lnTo>
                  <a:pt x="654867" y="36214"/>
                </a:lnTo>
                <a:lnTo>
                  <a:pt x="618654" y="18107"/>
                </a:lnTo>
                <a:lnTo>
                  <a:pt x="582440" y="6036"/>
                </a:lnTo>
                <a:lnTo>
                  <a:pt x="561315" y="27160"/>
                </a:lnTo>
                <a:lnTo>
                  <a:pt x="576561" y="60356"/>
                </a:lnTo>
                <a:lnTo>
                  <a:pt x="579579" y="79738"/>
                </a:lnTo>
                <a:lnTo>
                  <a:pt x="546226" y="96570"/>
                </a:lnTo>
                <a:lnTo>
                  <a:pt x="513030" y="108641"/>
                </a:lnTo>
                <a:lnTo>
                  <a:pt x="459502" y="112933"/>
                </a:lnTo>
                <a:lnTo>
                  <a:pt x="464267" y="181069"/>
                </a:lnTo>
                <a:lnTo>
                  <a:pt x="437584" y="214265"/>
                </a:lnTo>
                <a:lnTo>
                  <a:pt x="416459" y="247461"/>
                </a:lnTo>
                <a:lnTo>
                  <a:pt x="392317" y="259533"/>
                </a:lnTo>
                <a:lnTo>
                  <a:pt x="353242" y="223486"/>
                </a:lnTo>
                <a:lnTo>
                  <a:pt x="356103" y="298764"/>
                </a:lnTo>
                <a:lnTo>
                  <a:pt x="334978" y="286693"/>
                </a:lnTo>
                <a:lnTo>
                  <a:pt x="316871" y="283675"/>
                </a:lnTo>
                <a:lnTo>
                  <a:pt x="277640" y="302586"/>
                </a:lnTo>
                <a:lnTo>
                  <a:pt x="262551" y="317039"/>
                </a:lnTo>
                <a:lnTo>
                  <a:pt x="229355" y="334978"/>
                </a:lnTo>
                <a:lnTo>
                  <a:pt x="211248" y="316871"/>
                </a:lnTo>
                <a:lnTo>
                  <a:pt x="196158" y="310836"/>
                </a:lnTo>
                <a:lnTo>
                  <a:pt x="132784" y="35006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5813259" y="3925975"/>
            <a:ext cx="1264100" cy="594217"/>
          </a:xfrm>
          <a:custGeom>
            <a:avLst/>
            <a:gdLst>
              <a:gd name="connsiteX0" fmla="*/ 129766 w 1273521"/>
              <a:gd name="connsiteY0" fmla="*/ 238408 h 585458"/>
              <a:gd name="connsiteX1" fmla="*/ 63374 w 1273521"/>
              <a:gd name="connsiteY1" fmla="*/ 331961 h 585458"/>
              <a:gd name="connsiteX2" fmla="*/ 63374 w 1273521"/>
              <a:gd name="connsiteY2" fmla="*/ 368174 h 585458"/>
              <a:gd name="connsiteX3" fmla="*/ 33196 w 1273521"/>
              <a:gd name="connsiteY3" fmla="*/ 452673 h 585458"/>
              <a:gd name="connsiteX4" fmla="*/ 33196 w 1273521"/>
              <a:gd name="connsiteY4" fmla="*/ 488887 h 585458"/>
              <a:gd name="connsiteX5" fmla="*/ 6036 w 1273521"/>
              <a:gd name="connsiteY5" fmla="*/ 525101 h 585458"/>
              <a:gd name="connsiteX6" fmla="*/ 6036 w 1273521"/>
              <a:gd name="connsiteY6" fmla="*/ 555279 h 585458"/>
              <a:gd name="connsiteX7" fmla="*/ 0 w 1273521"/>
              <a:gd name="connsiteY7" fmla="*/ 585458 h 585458"/>
              <a:gd name="connsiteX8" fmla="*/ 283675 w 1273521"/>
              <a:gd name="connsiteY8" fmla="*/ 540190 h 585458"/>
              <a:gd name="connsiteX9" fmla="*/ 328942 w 1273521"/>
              <a:gd name="connsiteY9" fmla="*/ 549244 h 585458"/>
              <a:gd name="connsiteX10" fmla="*/ 334978 w 1273521"/>
              <a:gd name="connsiteY10" fmla="*/ 531137 h 585458"/>
              <a:gd name="connsiteX11" fmla="*/ 365156 w 1273521"/>
              <a:gd name="connsiteY11" fmla="*/ 525101 h 585458"/>
              <a:gd name="connsiteX12" fmla="*/ 419477 w 1273521"/>
              <a:gd name="connsiteY12" fmla="*/ 497941 h 585458"/>
              <a:gd name="connsiteX13" fmla="*/ 452673 w 1273521"/>
              <a:gd name="connsiteY13" fmla="*/ 516048 h 585458"/>
              <a:gd name="connsiteX14" fmla="*/ 932507 w 1273521"/>
              <a:gd name="connsiteY14" fmla="*/ 413442 h 585458"/>
              <a:gd name="connsiteX15" fmla="*/ 905346 w 1273521"/>
              <a:gd name="connsiteY15" fmla="*/ 371192 h 585458"/>
              <a:gd name="connsiteX16" fmla="*/ 941560 w 1273521"/>
              <a:gd name="connsiteY16" fmla="*/ 344032 h 585458"/>
              <a:gd name="connsiteX17" fmla="*/ 956649 w 1273521"/>
              <a:gd name="connsiteY17" fmla="*/ 307818 h 585458"/>
              <a:gd name="connsiteX18" fmla="*/ 1017006 w 1273521"/>
              <a:gd name="connsiteY18" fmla="*/ 250479 h 585458"/>
              <a:gd name="connsiteX19" fmla="*/ 1068309 w 1273521"/>
              <a:gd name="connsiteY19" fmla="*/ 220301 h 585458"/>
              <a:gd name="connsiteX20" fmla="*/ 1101505 w 1273521"/>
              <a:gd name="connsiteY20" fmla="*/ 187105 h 585458"/>
              <a:gd name="connsiteX21" fmla="*/ 1122630 w 1273521"/>
              <a:gd name="connsiteY21" fmla="*/ 144856 h 585458"/>
              <a:gd name="connsiteX22" fmla="*/ 1167897 w 1273521"/>
              <a:gd name="connsiteY22" fmla="*/ 141838 h 585458"/>
              <a:gd name="connsiteX23" fmla="*/ 1192040 w 1273521"/>
              <a:gd name="connsiteY23" fmla="*/ 108642 h 585458"/>
              <a:gd name="connsiteX24" fmla="*/ 1207129 w 1273521"/>
              <a:gd name="connsiteY24" fmla="*/ 90535 h 585458"/>
              <a:gd name="connsiteX25" fmla="*/ 1240325 w 1273521"/>
              <a:gd name="connsiteY25" fmla="*/ 96570 h 585458"/>
              <a:gd name="connsiteX26" fmla="*/ 1270503 w 1273521"/>
              <a:gd name="connsiteY26" fmla="*/ 57339 h 585458"/>
              <a:gd name="connsiteX27" fmla="*/ 1273521 w 1273521"/>
              <a:gd name="connsiteY27" fmla="*/ 0 h 585458"/>
              <a:gd name="connsiteX28" fmla="*/ 980792 w 1273521"/>
              <a:gd name="connsiteY28" fmla="*/ 78463 h 585458"/>
              <a:gd name="connsiteX29" fmla="*/ 334978 w 1273521"/>
              <a:gd name="connsiteY29" fmla="*/ 199176 h 585458"/>
              <a:gd name="connsiteX30" fmla="*/ 274622 w 1273521"/>
              <a:gd name="connsiteY30" fmla="*/ 235390 h 585458"/>
              <a:gd name="connsiteX31" fmla="*/ 235390 w 1273521"/>
              <a:gd name="connsiteY31" fmla="*/ 238408 h 585458"/>
              <a:gd name="connsiteX32" fmla="*/ 129766 w 1273521"/>
              <a:gd name="connsiteY32" fmla="*/ 238408 h 585458"/>
              <a:gd name="connsiteX0" fmla="*/ 129766 w 1278631"/>
              <a:gd name="connsiteY0" fmla="*/ 252687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9477 w 1278631"/>
              <a:gd name="connsiteY12" fmla="*/ 512220 h 599737"/>
              <a:gd name="connsiteX13" fmla="*/ 452673 w 1278631"/>
              <a:gd name="connsiteY13" fmla="*/ 530327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22630 w 1278631"/>
              <a:gd name="connsiteY21" fmla="*/ 15913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129766 w 1278631"/>
              <a:gd name="connsiteY32" fmla="*/ 252687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9477 w 1278631"/>
              <a:gd name="connsiteY12" fmla="*/ 512220 h 599737"/>
              <a:gd name="connsiteX13" fmla="*/ 452673 w 1278631"/>
              <a:gd name="connsiteY13" fmla="*/ 530327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22630 w 1278631"/>
              <a:gd name="connsiteY21" fmla="*/ 15913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9477 w 1278631"/>
              <a:gd name="connsiteY12" fmla="*/ 512220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22630 w 1278631"/>
              <a:gd name="connsiteY21" fmla="*/ 15913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2445 w 1278631"/>
              <a:gd name="connsiteY12" fmla="*/ 511932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22630 w 1278631"/>
              <a:gd name="connsiteY21" fmla="*/ 15913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4939 w 1278631"/>
              <a:gd name="connsiteY12" fmla="*/ 521164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22630 w 1278631"/>
              <a:gd name="connsiteY21" fmla="*/ 15913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4939 w 1278631"/>
              <a:gd name="connsiteY12" fmla="*/ 521164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101505 w 1278631"/>
              <a:gd name="connsiteY20" fmla="*/ 201384 h 599737"/>
              <a:gd name="connsiteX21" fmla="*/ 1141254 w 1278631"/>
              <a:gd name="connsiteY21" fmla="*/ 17076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4939 w 1278631"/>
              <a:gd name="connsiteY12" fmla="*/ 521164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099176 w 1278631"/>
              <a:gd name="connsiteY20" fmla="*/ 173472 h 599737"/>
              <a:gd name="connsiteX21" fmla="*/ 1141254 w 1278631"/>
              <a:gd name="connsiteY21" fmla="*/ 17076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07129 w 1278631"/>
              <a:gd name="connsiteY24" fmla="*/ 104814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4939 w 1278631"/>
              <a:gd name="connsiteY12" fmla="*/ 521164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099176 w 1278631"/>
              <a:gd name="connsiteY20" fmla="*/ 173472 h 599737"/>
              <a:gd name="connsiteX21" fmla="*/ 1141254 w 1278631"/>
              <a:gd name="connsiteY21" fmla="*/ 170765 h 599737"/>
              <a:gd name="connsiteX22" fmla="*/ 1167897 w 1278631"/>
              <a:gd name="connsiteY22" fmla="*/ 156117 h 599737"/>
              <a:gd name="connsiteX23" fmla="*/ 1192040 w 1278631"/>
              <a:gd name="connsiteY23" fmla="*/ 122921 h 599737"/>
              <a:gd name="connsiteX24" fmla="*/ 1211785 w 1278631"/>
              <a:gd name="connsiteY24" fmla="*/ 123423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  <a:gd name="connsiteX0" fmla="*/ 98837 w 1278631"/>
              <a:gd name="connsiteY0" fmla="*/ 262065 h 599737"/>
              <a:gd name="connsiteX1" fmla="*/ 63374 w 1278631"/>
              <a:gd name="connsiteY1" fmla="*/ 346240 h 599737"/>
              <a:gd name="connsiteX2" fmla="*/ 63374 w 1278631"/>
              <a:gd name="connsiteY2" fmla="*/ 382453 h 599737"/>
              <a:gd name="connsiteX3" fmla="*/ 33196 w 1278631"/>
              <a:gd name="connsiteY3" fmla="*/ 466952 h 599737"/>
              <a:gd name="connsiteX4" fmla="*/ 33196 w 1278631"/>
              <a:gd name="connsiteY4" fmla="*/ 503166 h 599737"/>
              <a:gd name="connsiteX5" fmla="*/ 6036 w 1278631"/>
              <a:gd name="connsiteY5" fmla="*/ 539380 h 599737"/>
              <a:gd name="connsiteX6" fmla="*/ 6036 w 1278631"/>
              <a:gd name="connsiteY6" fmla="*/ 569558 h 599737"/>
              <a:gd name="connsiteX7" fmla="*/ 0 w 1278631"/>
              <a:gd name="connsiteY7" fmla="*/ 599737 h 599737"/>
              <a:gd name="connsiteX8" fmla="*/ 283675 w 1278631"/>
              <a:gd name="connsiteY8" fmla="*/ 554469 h 599737"/>
              <a:gd name="connsiteX9" fmla="*/ 328942 w 1278631"/>
              <a:gd name="connsiteY9" fmla="*/ 563523 h 599737"/>
              <a:gd name="connsiteX10" fmla="*/ 334978 w 1278631"/>
              <a:gd name="connsiteY10" fmla="*/ 545416 h 599737"/>
              <a:gd name="connsiteX11" fmla="*/ 365156 w 1278631"/>
              <a:gd name="connsiteY11" fmla="*/ 539380 h 599737"/>
              <a:gd name="connsiteX12" fmla="*/ 414939 w 1278631"/>
              <a:gd name="connsiteY12" fmla="*/ 521164 h 599737"/>
              <a:gd name="connsiteX13" fmla="*/ 443268 w 1278631"/>
              <a:gd name="connsiteY13" fmla="*/ 539549 h 599737"/>
              <a:gd name="connsiteX14" fmla="*/ 932507 w 1278631"/>
              <a:gd name="connsiteY14" fmla="*/ 427721 h 599737"/>
              <a:gd name="connsiteX15" fmla="*/ 905346 w 1278631"/>
              <a:gd name="connsiteY15" fmla="*/ 385471 h 599737"/>
              <a:gd name="connsiteX16" fmla="*/ 941560 w 1278631"/>
              <a:gd name="connsiteY16" fmla="*/ 358311 h 599737"/>
              <a:gd name="connsiteX17" fmla="*/ 956649 w 1278631"/>
              <a:gd name="connsiteY17" fmla="*/ 322097 h 599737"/>
              <a:gd name="connsiteX18" fmla="*/ 1017006 w 1278631"/>
              <a:gd name="connsiteY18" fmla="*/ 264758 h 599737"/>
              <a:gd name="connsiteX19" fmla="*/ 1068309 w 1278631"/>
              <a:gd name="connsiteY19" fmla="*/ 234580 h 599737"/>
              <a:gd name="connsiteX20" fmla="*/ 1099176 w 1278631"/>
              <a:gd name="connsiteY20" fmla="*/ 173472 h 599737"/>
              <a:gd name="connsiteX21" fmla="*/ 1141254 w 1278631"/>
              <a:gd name="connsiteY21" fmla="*/ 170765 h 599737"/>
              <a:gd name="connsiteX22" fmla="*/ 1177209 w 1278631"/>
              <a:gd name="connsiteY22" fmla="*/ 135183 h 599737"/>
              <a:gd name="connsiteX23" fmla="*/ 1192040 w 1278631"/>
              <a:gd name="connsiteY23" fmla="*/ 122921 h 599737"/>
              <a:gd name="connsiteX24" fmla="*/ 1211785 w 1278631"/>
              <a:gd name="connsiteY24" fmla="*/ 123423 h 599737"/>
              <a:gd name="connsiteX25" fmla="*/ 1240325 w 1278631"/>
              <a:gd name="connsiteY25" fmla="*/ 110849 h 599737"/>
              <a:gd name="connsiteX26" fmla="*/ 1270503 w 1278631"/>
              <a:gd name="connsiteY26" fmla="*/ 71618 h 599737"/>
              <a:gd name="connsiteX27" fmla="*/ 1278631 w 1278631"/>
              <a:gd name="connsiteY27" fmla="*/ 0 h 599737"/>
              <a:gd name="connsiteX28" fmla="*/ 980792 w 1278631"/>
              <a:gd name="connsiteY28" fmla="*/ 92742 h 599737"/>
              <a:gd name="connsiteX29" fmla="*/ 334978 w 1278631"/>
              <a:gd name="connsiteY29" fmla="*/ 213455 h 599737"/>
              <a:gd name="connsiteX30" fmla="*/ 274622 w 1278631"/>
              <a:gd name="connsiteY30" fmla="*/ 249669 h 599737"/>
              <a:gd name="connsiteX31" fmla="*/ 235390 w 1278631"/>
              <a:gd name="connsiteY31" fmla="*/ 252687 h 599737"/>
              <a:gd name="connsiteX32" fmla="*/ 98837 w 1278631"/>
              <a:gd name="connsiteY32" fmla="*/ 262065 h 599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78631" h="599737">
                <a:moveTo>
                  <a:pt x="98837" y="262065"/>
                </a:moveTo>
                <a:lnTo>
                  <a:pt x="63374" y="346240"/>
                </a:lnTo>
                <a:lnTo>
                  <a:pt x="63374" y="382453"/>
                </a:lnTo>
                <a:lnTo>
                  <a:pt x="33196" y="466952"/>
                </a:lnTo>
                <a:lnTo>
                  <a:pt x="33196" y="503166"/>
                </a:lnTo>
                <a:lnTo>
                  <a:pt x="6036" y="539380"/>
                </a:lnTo>
                <a:lnTo>
                  <a:pt x="6036" y="569558"/>
                </a:lnTo>
                <a:lnTo>
                  <a:pt x="0" y="599737"/>
                </a:lnTo>
                <a:lnTo>
                  <a:pt x="283675" y="554469"/>
                </a:lnTo>
                <a:lnTo>
                  <a:pt x="328942" y="563523"/>
                </a:lnTo>
                <a:lnTo>
                  <a:pt x="334978" y="545416"/>
                </a:lnTo>
                <a:lnTo>
                  <a:pt x="365156" y="539380"/>
                </a:lnTo>
                <a:lnTo>
                  <a:pt x="414939" y="521164"/>
                </a:lnTo>
                <a:lnTo>
                  <a:pt x="443268" y="539549"/>
                </a:lnTo>
                <a:lnTo>
                  <a:pt x="932507" y="427721"/>
                </a:lnTo>
                <a:lnTo>
                  <a:pt x="905346" y="385471"/>
                </a:lnTo>
                <a:lnTo>
                  <a:pt x="941560" y="358311"/>
                </a:lnTo>
                <a:lnTo>
                  <a:pt x="956649" y="322097"/>
                </a:lnTo>
                <a:lnTo>
                  <a:pt x="1017006" y="264758"/>
                </a:lnTo>
                <a:lnTo>
                  <a:pt x="1068309" y="234580"/>
                </a:lnTo>
                <a:lnTo>
                  <a:pt x="1099176" y="173472"/>
                </a:lnTo>
                <a:lnTo>
                  <a:pt x="1141254" y="170765"/>
                </a:lnTo>
                <a:lnTo>
                  <a:pt x="1177209" y="135183"/>
                </a:lnTo>
                <a:lnTo>
                  <a:pt x="1192040" y="122921"/>
                </a:lnTo>
                <a:lnTo>
                  <a:pt x="1211785" y="123423"/>
                </a:lnTo>
                <a:lnTo>
                  <a:pt x="1240325" y="110849"/>
                </a:lnTo>
                <a:lnTo>
                  <a:pt x="1270503" y="71618"/>
                </a:lnTo>
                <a:lnTo>
                  <a:pt x="1278631" y="0"/>
                </a:lnTo>
                <a:lnTo>
                  <a:pt x="980792" y="92742"/>
                </a:lnTo>
                <a:lnTo>
                  <a:pt x="334978" y="213455"/>
                </a:lnTo>
                <a:lnTo>
                  <a:pt x="274622" y="249669"/>
                </a:lnTo>
                <a:lnTo>
                  <a:pt x="235390" y="252687"/>
                </a:lnTo>
                <a:lnTo>
                  <a:pt x="98837" y="26206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6034170" y="3117778"/>
            <a:ext cx="480174" cy="808196"/>
          </a:xfrm>
          <a:custGeom>
            <a:avLst/>
            <a:gdLst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84499 w 497940"/>
              <a:gd name="connsiteY4" fmla="*/ 633742 h 832919"/>
              <a:gd name="connsiteX5" fmla="*/ 87516 w 497940"/>
              <a:gd name="connsiteY5" fmla="*/ 672974 h 832919"/>
              <a:gd name="connsiteX6" fmla="*/ 87516 w 497940"/>
              <a:gd name="connsiteY6" fmla="*/ 672974 h 832919"/>
              <a:gd name="connsiteX7" fmla="*/ 75445 w 497940"/>
              <a:gd name="connsiteY7" fmla="*/ 715224 h 832919"/>
              <a:gd name="connsiteX8" fmla="*/ 42249 w 497940"/>
              <a:gd name="connsiteY8" fmla="*/ 751438 h 832919"/>
              <a:gd name="connsiteX9" fmla="*/ 60356 w 497940"/>
              <a:gd name="connsiteY9" fmla="*/ 763509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497940 w 497940"/>
              <a:gd name="connsiteY24" fmla="*/ 573386 h 832919"/>
              <a:gd name="connsiteX25" fmla="*/ 476815 w 497940"/>
              <a:gd name="connsiteY25" fmla="*/ 525101 h 832919"/>
              <a:gd name="connsiteX26" fmla="*/ 494922 w 497940"/>
              <a:gd name="connsiteY26" fmla="*/ 494923 h 832919"/>
              <a:gd name="connsiteX27" fmla="*/ 380245 w 497940"/>
              <a:gd name="connsiteY27" fmla="*/ 12071 h 832919"/>
              <a:gd name="connsiteX28" fmla="*/ 368174 w 497940"/>
              <a:gd name="connsiteY28" fmla="*/ 0 h 832919"/>
              <a:gd name="connsiteX29" fmla="*/ 184087 w 497940"/>
              <a:gd name="connsiteY29" fmla="*/ 45267 h 832919"/>
              <a:gd name="connsiteX30" fmla="*/ 126748 w 497940"/>
              <a:gd name="connsiteY30" fmla="*/ 54321 h 832919"/>
              <a:gd name="connsiteX31" fmla="*/ 105623 w 497940"/>
              <a:gd name="connsiteY31" fmla="*/ 51303 h 832919"/>
              <a:gd name="connsiteX32" fmla="*/ 57338 w 497940"/>
              <a:gd name="connsiteY32" fmla="*/ 87517 h 832919"/>
              <a:gd name="connsiteX33" fmla="*/ 0 w 497940"/>
              <a:gd name="connsiteY33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84499 w 497940"/>
              <a:gd name="connsiteY4" fmla="*/ 633742 h 832919"/>
              <a:gd name="connsiteX5" fmla="*/ 87516 w 497940"/>
              <a:gd name="connsiteY5" fmla="*/ 672974 h 832919"/>
              <a:gd name="connsiteX6" fmla="*/ 87516 w 497940"/>
              <a:gd name="connsiteY6" fmla="*/ 672974 h 832919"/>
              <a:gd name="connsiteX7" fmla="*/ 75445 w 497940"/>
              <a:gd name="connsiteY7" fmla="*/ 715224 h 832919"/>
              <a:gd name="connsiteX8" fmla="*/ 42249 w 497940"/>
              <a:gd name="connsiteY8" fmla="*/ 751438 h 832919"/>
              <a:gd name="connsiteX9" fmla="*/ 60356 w 497940"/>
              <a:gd name="connsiteY9" fmla="*/ 763509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393738 w 497940"/>
              <a:gd name="connsiteY24" fmla="*/ 619533 h 832919"/>
              <a:gd name="connsiteX25" fmla="*/ 497940 w 497940"/>
              <a:gd name="connsiteY25" fmla="*/ 573386 h 832919"/>
              <a:gd name="connsiteX26" fmla="*/ 476815 w 497940"/>
              <a:gd name="connsiteY26" fmla="*/ 525101 h 832919"/>
              <a:gd name="connsiteX27" fmla="*/ 494922 w 497940"/>
              <a:gd name="connsiteY27" fmla="*/ 494923 h 832919"/>
              <a:gd name="connsiteX28" fmla="*/ 380245 w 497940"/>
              <a:gd name="connsiteY28" fmla="*/ 12071 h 832919"/>
              <a:gd name="connsiteX29" fmla="*/ 368174 w 497940"/>
              <a:gd name="connsiteY29" fmla="*/ 0 h 832919"/>
              <a:gd name="connsiteX30" fmla="*/ 184087 w 497940"/>
              <a:gd name="connsiteY30" fmla="*/ 45267 h 832919"/>
              <a:gd name="connsiteX31" fmla="*/ 126748 w 497940"/>
              <a:gd name="connsiteY31" fmla="*/ 54321 h 832919"/>
              <a:gd name="connsiteX32" fmla="*/ 105623 w 497940"/>
              <a:gd name="connsiteY32" fmla="*/ 51303 h 832919"/>
              <a:gd name="connsiteX33" fmla="*/ 57338 w 497940"/>
              <a:gd name="connsiteY33" fmla="*/ 87517 h 832919"/>
              <a:gd name="connsiteX34" fmla="*/ 0 w 497940"/>
              <a:gd name="connsiteY34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84499 w 497940"/>
              <a:gd name="connsiteY4" fmla="*/ 633742 h 832919"/>
              <a:gd name="connsiteX5" fmla="*/ 87516 w 497940"/>
              <a:gd name="connsiteY5" fmla="*/ 672974 h 832919"/>
              <a:gd name="connsiteX6" fmla="*/ 87516 w 497940"/>
              <a:gd name="connsiteY6" fmla="*/ 672974 h 832919"/>
              <a:gd name="connsiteX7" fmla="*/ 63514 w 497940"/>
              <a:gd name="connsiteY7" fmla="*/ 712845 h 832919"/>
              <a:gd name="connsiteX8" fmla="*/ 42249 w 497940"/>
              <a:gd name="connsiteY8" fmla="*/ 751438 h 832919"/>
              <a:gd name="connsiteX9" fmla="*/ 60356 w 497940"/>
              <a:gd name="connsiteY9" fmla="*/ 763509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393738 w 497940"/>
              <a:gd name="connsiteY24" fmla="*/ 619533 h 832919"/>
              <a:gd name="connsiteX25" fmla="*/ 497940 w 497940"/>
              <a:gd name="connsiteY25" fmla="*/ 573386 h 832919"/>
              <a:gd name="connsiteX26" fmla="*/ 476815 w 497940"/>
              <a:gd name="connsiteY26" fmla="*/ 525101 h 832919"/>
              <a:gd name="connsiteX27" fmla="*/ 494922 w 497940"/>
              <a:gd name="connsiteY27" fmla="*/ 494923 h 832919"/>
              <a:gd name="connsiteX28" fmla="*/ 380245 w 497940"/>
              <a:gd name="connsiteY28" fmla="*/ 12071 h 832919"/>
              <a:gd name="connsiteX29" fmla="*/ 368174 w 497940"/>
              <a:gd name="connsiteY29" fmla="*/ 0 h 832919"/>
              <a:gd name="connsiteX30" fmla="*/ 184087 w 497940"/>
              <a:gd name="connsiteY30" fmla="*/ 45267 h 832919"/>
              <a:gd name="connsiteX31" fmla="*/ 126748 w 497940"/>
              <a:gd name="connsiteY31" fmla="*/ 54321 h 832919"/>
              <a:gd name="connsiteX32" fmla="*/ 105623 w 497940"/>
              <a:gd name="connsiteY32" fmla="*/ 51303 h 832919"/>
              <a:gd name="connsiteX33" fmla="*/ 57338 w 497940"/>
              <a:gd name="connsiteY33" fmla="*/ 87517 h 832919"/>
              <a:gd name="connsiteX34" fmla="*/ 0 w 497940"/>
              <a:gd name="connsiteY34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84499 w 497940"/>
              <a:gd name="connsiteY4" fmla="*/ 633742 h 832919"/>
              <a:gd name="connsiteX5" fmla="*/ 87516 w 497940"/>
              <a:gd name="connsiteY5" fmla="*/ 672974 h 832919"/>
              <a:gd name="connsiteX6" fmla="*/ 80358 w 497940"/>
              <a:gd name="connsiteY6" fmla="*/ 672974 h 832919"/>
              <a:gd name="connsiteX7" fmla="*/ 63514 w 497940"/>
              <a:gd name="connsiteY7" fmla="*/ 712845 h 832919"/>
              <a:gd name="connsiteX8" fmla="*/ 42249 w 497940"/>
              <a:gd name="connsiteY8" fmla="*/ 751438 h 832919"/>
              <a:gd name="connsiteX9" fmla="*/ 60356 w 497940"/>
              <a:gd name="connsiteY9" fmla="*/ 763509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393738 w 497940"/>
              <a:gd name="connsiteY24" fmla="*/ 619533 h 832919"/>
              <a:gd name="connsiteX25" fmla="*/ 497940 w 497940"/>
              <a:gd name="connsiteY25" fmla="*/ 573386 h 832919"/>
              <a:gd name="connsiteX26" fmla="*/ 476815 w 497940"/>
              <a:gd name="connsiteY26" fmla="*/ 525101 h 832919"/>
              <a:gd name="connsiteX27" fmla="*/ 494922 w 497940"/>
              <a:gd name="connsiteY27" fmla="*/ 494923 h 832919"/>
              <a:gd name="connsiteX28" fmla="*/ 380245 w 497940"/>
              <a:gd name="connsiteY28" fmla="*/ 12071 h 832919"/>
              <a:gd name="connsiteX29" fmla="*/ 368174 w 497940"/>
              <a:gd name="connsiteY29" fmla="*/ 0 h 832919"/>
              <a:gd name="connsiteX30" fmla="*/ 184087 w 497940"/>
              <a:gd name="connsiteY30" fmla="*/ 45267 h 832919"/>
              <a:gd name="connsiteX31" fmla="*/ 126748 w 497940"/>
              <a:gd name="connsiteY31" fmla="*/ 54321 h 832919"/>
              <a:gd name="connsiteX32" fmla="*/ 105623 w 497940"/>
              <a:gd name="connsiteY32" fmla="*/ 51303 h 832919"/>
              <a:gd name="connsiteX33" fmla="*/ 57338 w 497940"/>
              <a:gd name="connsiteY33" fmla="*/ 87517 h 832919"/>
              <a:gd name="connsiteX34" fmla="*/ 0 w 497940"/>
              <a:gd name="connsiteY34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77340 w 497940"/>
              <a:gd name="connsiteY4" fmla="*/ 633742 h 832919"/>
              <a:gd name="connsiteX5" fmla="*/ 87516 w 497940"/>
              <a:gd name="connsiteY5" fmla="*/ 672974 h 832919"/>
              <a:gd name="connsiteX6" fmla="*/ 80358 w 497940"/>
              <a:gd name="connsiteY6" fmla="*/ 672974 h 832919"/>
              <a:gd name="connsiteX7" fmla="*/ 63514 w 497940"/>
              <a:gd name="connsiteY7" fmla="*/ 712845 h 832919"/>
              <a:gd name="connsiteX8" fmla="*/ 42249 w 497940"/>
              <a:gd name="connsiteY8" fmla="*/ 751438 h 832919"/>
              <a:gd name="connsiteX9" fmla="*/ 60356 w 497940"/>
              <a:gd name="connsiteY9" fmla="*/ 763509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393738 w 497940"/>
              <a:gd name="connsiteY24" fmla="*/ 619533 h 832919"/>
              <a:gd name="connsiteX25" fmla="*/ 497940 w 497940"/>
              <a:gd name="connsiteY25" fmla="*/ 573386 h 832919"/>
              <a:gd name="connsiteX26" fmla="*/ 476815 w 497940"/>
              <a:gd name="connsiteY26" fmla="*/ 525101 h 832919"/>
              <a:gd name="connsiteX27" fmla="*/ 494922 w 497940"/>
              <a:gd name="connsiteY27" fmla="*/ 494923 h 832919"/>
              <a:gd name="connsiteX28" fmla="*/ 380245 w 497940"/>
              <a:gd name="connsiteY28" fmla="*/ 12071 h 832919"/>
              <a:gd name="connsiteX29" fmla="*/ 368174 w 497940"/>
              <a:gd name="connsiteY29" fmla="*/ 0 h 832919"/>
              <a:gd name="connsiteX30" fmla="*/ 184087 w 497940"/>
              <a:gd name="connsiteY30" fmla="*/ 45267 h 832919"/>
              <a:gd name="connsiteX31" fmla="*/ 126748 w 497940"/>
              <a:gd name="connsiteY31" fmla="*/ 54321 h 832919"/>
              <a:gd name="connsiteX32" fmla="*/ 105623 w 497940"/>
              <a:gd name="connsiteY32" fmla="*/ 51303 h 832919"/>
              <a:gd name="connsiteX33" fmla="*/ 57338 w 497940"/>
              <a:gd name="connsiteY33" fmla="*/ 87517 h 832919"/>
              <a:gd name="connsiteX34" fmla="*/ 0 w 497940"/>
              <a:gd name="connsiteY34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77340 w 497940"/>
              <a:gd name="connsiteY4" fmla="*/ 633742 h 832919"/>
              <a:gd name="connsiteX5" fmla="*/ 87516 w 497940"/>
              <a:gd name="connsiteY5" fmla="*/ 672974 h 832919"/>
              <a:gd name="connsiteX6" fmla="*/ 80358 w 497940"/>
              <a:gd name="connsiteY6" fmla="*/ 672974 h 832919"/>
              <a:gd name="connsiteX7" fmla="*/ 63514 w 497940"/>
              <a:gd name="connsiteY7" fmla="*/ 712845 h 832919"/>
              <a:gd name="connsiteX8" fmla="*/ 42249 w 497940"/>
              <a:gd name="connsiteY8" fmla="*/ 751438 h 832919"/>
              <a:gd name="connsiteX9" fmla="*/ 46037 w 497940"/>
              <a:gd name="connsiteY9" fmla="*/ 773028 h 832919"/>
              <a:gd name="connsiteX10" fmla="*/ 51303 w 497940"/>
              <a:gd name="connsiteY10" fmla="*/ 820847 h 832919"/>
              <a:gd name="connsiteX11" fmla="*/ 48285 w 497940"/>
              <a:gd name="connsiteY11" fmla="*/ 832919 h 832919"/>
              <a:gd name="connsiteX12" fmla="*/ 108641 w 497940"/>
              <a:gd name="connsiteY12" fmla="*/ 808776 h 832919"/>
              <a:gd name="connsiteX13" fmla="*/ 135802 w 497940"/>
              <a:gd name="connsiteY13" fmla="*/ 826883 h 832919"/>
              <a:gd name="connsiteX14" fmla="*/ 214265 w 497940"/>
              <a:gd name="connsiteY14" fmla="*/ 790669 h 832919"/>
              <a:gd name="connsiteX15" fmla="*/ 229354 w 497940"/>
              <a:gd name="connsiteY15" fmla="*/ 772562 h 832919"/>
              <a:gd name="connsiteX16" fmla="*/ 262550 w 497940"/>
              <a:gd name="connsiteY16" fmla="*/ 790669 h 832919"/>
              <a:gd name="connsiteX17" fmla="*/ 262550 w 497940"/>
              <a:gd name="connsiteY17" fmla="*/ 736348 h 832919"/>
              <a:gd name="connsiteX18" fmla="*/ 265568 w 497940"/>
              <a:gd name="connsiteY18" fmla="*/ 727295 h 832919"/>
              <a:gd name="connsiteX19" fmla="*/ 298764 w 497940"/>
              <a:gd name="connsiteY19" fmla="*/ 748420 h 832919"/>
              <a:gd name="connsiteX20" fmla="*/ 310835 w 497940"/>
              <a:gd name="connsiteY20" fmla="*/ 748420 h 832919"/>
              <a:gd name="connsiteX21" fmla="*/ 322906 w 497940"/>
              <a:gd name="connsiteY21" fmla="*/ 736348 h 832919"/>
              <a:gd name="connsiteX22" fmla="*/ 368174 w 497940"/>
              <a:gd name="connsiteY22" fmla="*/ 679010 h 832919"/>
              <a:gd name="connsiteX23" fmla="*/ 377227 w 497940"/>
              <a:gd name="connsiteY23" fmla="*/ 603564 h 832919"/>
              <a:gd name="connsiteX24" fmla="*/ 393738 w 497940"/>
              <a:gd name="connsiteY24" fmla="*/ 619533 h 832919"/>
              <a:gd name="connsiteX25" fmla="*/ 497940 w 497940"/>
              <a:gd name="connsiteY25" fmla="*/ 573386 h 832919"/>
              <a:gd name="connsiteX26" fmla="*/ 476815 w 497940"/>
              <a:gd name="connsiteY26" fmla="*/ 525101 h 832919"/>
              <a:gd name="connsiteX27" fmla="*/ 494922 w 497940"/>
              <a:gd name="connsiteY27" fmla="*/ 494923 h 832919"/>
              <a:gd name="connsiteX28" fmla="*/ 380245 w 497940"/>
              <a:gd name="connsiteY28" fmla="*/ 12071 h 832919"/>
              <a:gd name="connsiteX29" fmla="*/ 368174 w 497940"/>
              <a:gd name="connsiteY29" fmla="*/ 0 h 832919"/>
              <a:gd name="connsiteX30" fmla="*/ 184087 w 497940"/>
              <a:gd name="connsiteY30" fmla="*/ 45267 h 832919"/>
              <a:gd name="connsiteX31" fmla="*/ 126748 w 497940"/>
              <a:gd name="connsiteY31" fmla="*/ 54321 h 832919"/>
              <a:gd name="connsiteX32" fmla="*/ 105623 w 497940"/>
              <a:gd name="connsiteY32" fmla="*/ 51303 h 832919"/>
              <a:gd name="connsiteX33" fmla="*/ 57338 w 497940"/>
              <a:gd name="connsiteY33" fmla="*/ 87517 h 832919"/>
              <a:gd name="connsiteX34" fmla="*/ 0 w 497940"/>
              <a:gd name="connsiteY34" fmla="*/ 102606 h 832919"/>
              <a:gd name="connsiteX0" fmla="*/ 0 w 497940"/>
              <a:gd name="connsiteY0" fmla="*/ 102606 h 832919"/>
              <a:gd name="connsiteX1" fmla="*/ 84499 w 497940"/>
              <a:gd name="connsiteY1" fmla="*/ 482851 h 832919"/>
              <a:gd name="connsiteX2" fmla="*/ 78463 w 497940"/>
              <a:gd name="connsiteY2" fmla="*/ 522083 h 832919"/>
              <a:gd name="connsiteX3" fmla="*/ 66392 w 497940"/>
              <a:gd name="connsiteY3" fmla="*/ 567350 h 832919"/>
              <a:gd name="connsiteX4" fmla="*/ 77340 w 497940"/>
              <a:gd name="connsiteY4" fmla="*/ 633742 h 832919"/>
              <a:gd name="connsiteX5" fmla="*/ 87516 w 497940"/>
              <a:gd name="connsiteY5" fmla="*/ 672974 h 832919"/>
              <a:gd name="connsiteX6" fmla="*/ 80358 w 497940"/>
              <a:gd name="connsiteY6" fmla="*/ 672974 h 832919"/>
              <a:gd name="connsiteX7" fmla="*/ 63514 w 497940"/>
              <a:gd name="connsiteY7" fmla="*/ 712845 h 832919"/>
              <a:gd name="connsiteX8" fmla="*/ 42249 w 497940"/>
              <a:gd name="connsiteY8" fmla="*/ 751438 h 832919"/>
              <a:gd name="connsiteX9" fmla="*/ 46037 w 497940"/>
              <a:gd name="connsiteY9" fmla="*/ 773028 h 832919"/>
              <a:gd name="connsiteX10" fmla="*/ 48285 w 497940"/>
              <a:gd name="connsiteY10" fmla="*/ 832919 h 832919"/>
              <a:gd name="connsiteX11" fmla="*/ 108641 w 497940"/>
              <a:gd name="connsiteY11" fmla="*/ 808776 h 832919"/>
              <a:gd name="connsiteX12" fmla="*/ 135802 w 497940"/>
              <a:gd name="connsiteY12" fmla="*/ 826883 h 832919"/>
              <a:gd name="connsiteX13" fmla="*/ 214265 w 497940"/>
              <a:gd name="connsiteY13" fmla="*/ 790669 h 832919"/>
              <a:gd name="connsiteX14" fmla="*/ 229354 w 497940"/>
              <a:gd name="connsiteY14" fmla="*/ 772562 h 832919"/>
              <a:gd name="connsiteX15" fmla="*/ 262550 w 497940"/>
              <a:gd name="connsiteY15" fmla="*/ 790669 h 832919"/>
              <a:gd name="connsiteX16" fmla="*/ 262550 w 497940"/>
              <a:gd name="connsiteY16" fmla="*/ 736348 h 832919"/>
              <a:gd name="connsiteX17" fmla="*/ 265568 w 497940"/>
              <a:gd name="connsiteY17" fmla="*/ 727295 h 832919"/>
              <a:gd name="connsiteX18" fmla="*/ 298764 w 497940"/>
              <a:gd name="connsiteY18" fmla="*/ 748420 h 832919"/>
              <a:gd name="connsiteX19" fmla="*/ 310835 w 497940"/>
              <a:gd name="connsiteY19" fmla="*/ 748420 h 832919"/>
              <a:gd name="connsiteX20" fmla="*/ 322906 w 497940"/>
              <a:gd name="connsiteY20" fmla="*/ 736348 h 832919"/>
              <a:gd name="connsiteX21" fmla="*/ 368174 w 497940"/>
              <a:gd name="connsiteY21" fmla="*/ 679010 h 832919"/>
              <a:gd name="connsiteX22" fmla="*/ 377227 w 497940"/>
              <a:gd name="connsiteY22" fmla="*/ 603564 h 832919"/>
              <a:gd name="connsiteX23" fmla="*/ 393738 w 497940"/>
              <a:gd name="connsiteY23" fmla="*/ 619533 h 832919"/>
              <a:gd name="connsiteX24" fmla="*/ 497940 w 497940"/>
              <a:gd name="connsiteY24" fmla="*/ 573386 h 832919"/>
              <a:gd name="connsiteX25" fmla="*/ 476815 w 497940"/>
              <a:gd name="connsiteY25" fmla="*/ 525101 h 832919"/>
              <a:gd name="connsiteX26" fmla="*/ 494922 w 497940"/>
              <a:gd name="connsiteY26" fmla="*/ 494923 h 832919"/>
              <a:gd name="connsiteX27" fmla="*/ 380245 w 497940"/>
              <a:gd name="connsiteY27" fmla="*/ 12071 h 832919"/>
              <a:gd name="connsiteX28" fmla="*/ 368174 w 497940"/>
              <a:gd name="connsiteY28" fmla="*/ 0 h 832919"/>
              <a:gd name="connsiteX29" fmla="*/ 184087 w 497940"/>
              <a:gd name="connsiteY29" fmla="*/ 45267 h 832919"/>
              <a:gd name="connsiteX30" fmla="*/ 126748 w 497940"/>
              <a:gd name="connsiteY30" fmla="*/ 54321 h 832919"/>
              <a:gd name="connsiteX31" fmla="*/ 105623 w 497940"/>
              <a:gd name="connsiteY31" fmla="*/ 51303 h 832919"/>
              <a:gd name="connsiteX32" fmla="*/ 57338 w 497940"/>
              <a:gd name="connsiteY32" fmla="*/ 87517 h 832919"/>
              <a:gd name="connsiteX33" fmla="*/ 0 w 497940"/>
              <a:gd name="connsiteY33" fmla="*/ 102606 h 832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497940" h="832919">
                <a:moveTo>
                  <a:pt x="0" y="102606"/>
                </a:moveTo>
                <a:lnTo>
                  <a:pt x="84499" y="482851"/>
                </a:lnTo>
                <a:lnTo>
                  <a:pt x="78463" y="522083"/>
                </a:lnTo>
                <a:lnTo>
                  <a:pt x="66392" y="567350"/>
                </a:lnTo>
                <a:lnTo>
                  <a:pt x="77340" y="633742"/>
                </a:lnTo>
                <a:lnTo>
                  <a:pt x="87516" y="672974"/>
                </a:lnTo>
                <a:lnTo>
                  <a:pt x="80358" y="672974"/>
                </a:lnTo>
                <a:lnTo>
                  <a:pt x="63514" y="712845"/>
                </a:lnTo>
                <a:lnTo>
                  <a:pt x="42249" y="751438"/>
                </a:lnTo>
                <a:lnTo>
                  <a:pt x="46037" y="773028"/>
                </a:lnTo>
                <a:cubicBezTo>
                  <a:pt x="46786" y="792992"/>
                  <a:pt x="47536" y="812955"/>
                  <a:pt x="48285" y="832919"/>
                </a:cubicBezTo>
                <a:lnTo>
                  <a:pt x="108641" y="808776"/>
                </a:lnTo>
                <a:lnTo>
                  <a:pt x="135802" y="826883"/>
                </a:lnTo>
                <a:lnTo>
                  <a:pt x="214265" y="790669"/>
                </a:lnTo>
                <a:lnTo>
                  <a:pt x="229354" y="772562"/>
                </a:lnTo>
                <a:lnTo>
                  <a:pt x="262550" y="790669"/>
                </a:lnTo>
                <a:lnTo>
                  <a:pt x="262550" y="736348"/>
                </a:lnTo>
                <a:lnTo>
                  <a:pt x="265568" y="727295"/>
                </a:lnTo>
                <a:lnTo>
                  <a:pt x="298764" y="748420"/>
                </a:lnTo>
                <a:lnTo>
                  <a:pt x="310835" y="748420"/>
                </a:lnTo>
                <a:lnTo>
                  <a:pt x="322906" y="736348"/>
                </a:lnTo>
                <a:lnTo>
                  <a:pt x="368174" y="679010"/>
                </a:lnTo>
                <a:lnTo>
                  <a:pt x="377227" y="603564"/>
                </a:lnTo>
                <a:cubicBezTo>
                  <a:pt x="380345" y="603334"/>
                  <a:pt x="390620" y="619763"/>
                  <a:pt x="393738" y="619533"/>
                </a:cubicBezTo>
                <a:lnTo>
                  <a:pt x="497940" y="573386"/>
                </a:lnTo>
                <a:lnTo>
                  <a:pt x="476815" y="525101"/>
                </a:lnTo>
                <a:lnTo>
                  <a:pt x="494922" y="494923"/>
                </a:lnTo>
                <a:lnTo>
                  <a:pt x="380245" y="12071"/>
                </a:lnTo>
                <a:lnTo>
                  <a:pt x="368174" y="0"/>
                </a:lnTo>
                <a:lnTo>
                  <a:pt x="184087" y="45267"/>
                </a:lnTo>
                <a:lnTo>
                  <a:pt x="126748" y="54321"/>
                </a:lnTo>
                <a:lnTo>
                  <a:pt x="105623" y="51303"/>
                </a:lnTo>
                <a:lnTo>
                  <a:pt x="57338" y="87517"/>
                </a:lnTo>
                <a:lnTo>
                  <a:pt x="0" y="10260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3268183" y="4367788"/>
            <a:ext cx="2104789" cy="1978157"/>
          </a:xfrm>
          <a:custGeom>
            <a:avLst/>
            <a:gdLst>
              <a:gd name="connsiteX0" fmla="*/ 586946 w 2168610"/>
              <a:gd name="connsiteY0" fmla="*/ 0 h 2032687"/>
              <a:gd name="connsiteX1" fmla="*/ 580767 w 2168610"/>
              <a:gd name="connsiteY1" fmla="*/ 864973 h 2032687"/>
              <a:gd name="connsiteX2" fmla="*/ 6178 w 2168610"/>
              <a:gd name="connsiteY2" fmla="*/ 846438 h 2032687"/>
              <a:gd name="connsiteX3" fmla="*/ 0 w 2168610"/>
              <a:gd name="connsiteY3" fmla="*/ 883509 h 2032687"/>
              <a:gd name="connsiteX4" fmla="*/ 49427 w 2168610"/>
              <a:gd name="connsiteY4" fmla="*/ 914400 h 2032687"/>
              <a:gd name="connsiteX5" fmla="*/ 105032 w 2168610"/>
              <a:gd name="connsiteY5" fmla="*/ 982363 h 2032687"/>
              <a:gd name="connsiteX6" fmla="*/ 154459 w 2168610"/>
              <a:gd name="connsiteY6" fmla="*/ 1056503 h 2032687"/>
              <a:gd name="connsiteX7" fmla="*/ 203886 w 2168610"/>
              <a:gd name="connsiteY7" fmla="*/ 1068860 h 2032687"/>
              <a:gd name="connsiteX8" fmla="*/ 240956 w 2168610"/>
              <a:gd name="connsiteY8" fmla="*/ 1118287 h 2032687"/>
              <a:gd name="connsiteX9" fmla="*/ 271848 w 2168610"/>
              <a:gd name="connsiteY9" fmla="*/ 1167714 h 2032687"/>
              <a:gd name="connsiteX10" fmla="*/ 296562 w 2168610"/>
              <a:gd name="connsiteY10" fmla="*/ 1223319 h 2032687"/>
              <a:gd name="connsiteX11" fmla="*/ 308919 w 2168610"/>
              <a:gd name="connsiteY11" fmla="*/ 1297460 h 2032687"/>
              <a:gd name="connsiteX12" fmla="*/ 327454 w 2168610"/>
              <a:gd name="connsiteY12" fmla="*/ 1322173 h 2032687"/>
              <a:gd name="connsiteX13" fmla="*/ 432486 w 2168610"/>
              <a:gd name="connsiteY13" fmla="*/ 1402492 h 2032687"/>
              <a:gd name="connsiteX14" fmla="*/ 438665 w 2168610"/>
              <a:gd name="connsiteY14" fmla="*/ 1377779 h 2032687"/>
              <a:gd name="connsiteX15" fmla="*/ 574589 w 2168610"/>
              <a:gd name="connsiteY15" fmla="*/ 1445741 h 2032687"/>
              <a:gd name="connsiteX16" fmla="*/ 574589 w 2168610"/>
              <a:gd name="connsiteY16" fmla="*/ 1445741 h 2032687"/>
              <a:gd name="connsiteX17" fmla="*/ 605481 w 2168610"/>
              <a:gd name="connsiteY17" fmla="*/ 1390136 h 2032687"/>
              <a:gd name="connsiteX18" fmla="*/ 661086 w 2168610"/>
              <a:gd name="connsiteY18" fmla="*/ 1322173 h 2032687"/>
              <a:gd name="connsiteX19" fmla="*/ 729048 w 2168610"/>
              <a:gd name="connsiteY19" fmla="*/ 1303638 h 2032687"/>
              <a:gd name="connsiteX20" fmla="*/ 821724 w 2168610"/>
              <a:gd name="connsiteY20" fmla="*/ 1315995 h 2032687"/>
              <a:gd name="connsiteX21" fmla="*/ 902043 w 2168610"/>
              <a:gd name="connsiteY21" fmla="*/ 1377779 h 2032687"/>
              <a:gd name="connsiteX22" fmla="*/ 957648 w 2168610"/>
              <a:gd name="connsiteY22" fmla="*/ 1458098 h 2032687"/>
              <a:gd name="connsiteX23" fmla="*/ 1013254 w 2168610"/>
              <a:gd name="connsiteY23" fmla="*/ 1538417 h 2032687"/>
              <a:gd name="connsiteX24" fmla="*/ 1062681 w 2168610"/>
              <a:gd name="connsiteY24" fmla="*/ 1624914 h 2032687"/>
              <a:gd name="connsiteX25" fmla="*/ 1118286 w 2168610"/>
              <a:gd name="connsiteY25" fmla="*/ 1692876 h 2032687"/>
              <a:gd name="connsiteX26" fmla="*/ 1167713 w 2168610"/>
              <a:gd name="connsiteY26" fmla="*/ 1729946 h 2032687"/>
              <a:gd name="connsiteX27" fmla="*/ 1198605 w 2168610"/>
              <a:gd name="connsiteY27" fmla="*/ 1810265 h 2032687"/>
              <a:gd name="connsiteX28" fmla="*/ 1223319 w 2168610"/>
              <a:gd name="connsiteY28" fmla="*/ 1872049 h 2032687"/>
              <a:gd name="connsiteX29" fmla="*/ 1248032 w 2168610"/>
              <a:gd name="connsiteY29" fmla="*/ 1933833 h 2032687"/>
              <a:gd name="connsiteX30" fmla="*/ 1278924 w 2168610"/>
              <a:gd name="connsiteY30" fmla="*/ 1977082 h 2032687"/>
              <a:gd name="connsiteX31" fmla="*/ 1340708 w 2168610"/>
              <a:gd name="connsiteY31" fmla="*/ 2001795 h 2032687"/>
              <a:gd name="connsiteX32" fmla="*/ 1439562 w 2168610"/>
              <a:gd name="connsiteY32" fmla="*/ 2020330 h 2032687"/>
              <a:gd name="connsiteX33" fmla="*/ 1513702 w 2168610"/>
              <a:gd name="connsiteY33" fmla="*/ 2032687 h 2032687"/>
              <a:gd name="connsiteX34" fmla="*/ 1606378 w 2168610"/>
              <a:gd name="connsiteY34" fmla="*/ 2032687 h 2032687"/>
              <a:gd name="connsiteX35" fmla="*/ 1587843 w 2168610"/>
              <a:gd name="connsiteY35" fmla="*/ 2020330 h 2032687"/>
              <a:gd name="connsiteX36" fmla="*/ 1587843 w 2168610"/>
              <a:gd name="connsiteY36" fmla="*/ 2020330 h 2032687"/>
              <a:gd name="connsiteX37" fmla="*/ 1575486 w 2168610"/>
              <a:gd name="connsiteY37" fmla="*/ 1952368 h 2032687"/>
              <a:gd name="connsiteX38" fmla="*/ 1550773 w 2168610"/>
              <a:gd name="connsiteY38" fmla="*/ 1921476 h 2032687"/>
              <a:gd name="connsiteX39" fmla="*/ 1544594 w 2168610"/>
              <a:gd name="connsiteY39" fmla="*/ 1884406 h 2032687"/>
              <a:gd name="connsiteX40" fmla="*/ 1526059 w 2168610"/>
              <a:gd name="connsiteY40" fmla="*/ 1841157 h 2032687"/>
              <a:gd name="connsiteX41" fmla="*/ 1538416 w 2168610"/>
              <a:gd name="connsiteY41" fmla="*/ 1810265 h 2032687"/>
              <a:gd name="connsiteX42" fmla="*/ 1532237 w 2168610"/>
              <a:gd name="connsiteY42" fmla="*/ 1791730 h 2032687"/>
              <a:gd name="connsiteX43" fmla="*/ 1488989 w 2168610"/>
              <a:gd name="connsiteY43" fmla="*/ 1767017 h 2032687"/>
              <a:gd name="connsiteX44" fmla="*/ 1538416 w 2168610"/>
              <a:gd name="connsiteY44" fmla="*/ 1736125 h 2032687"/>
              <a:gd name="connsiteX45" fmla="*/ 1544594 w 2168610"/>
              <a:gd name="connsiteY45" fmla="*/ 1723768 h 2032687"/>
              <a:gd name="connsiteX46" fmla="*/ 1550773 w 2168610"/>
              <a:gd name="connsiteY46" fmla="*/ 1692876 h 2032687"/>
              <a:gd name="connsiteX47" fmla="*/ 1526059 w 2168610"/>
              <a:gd name="connsiteY47" fmla="*/ 1661984 h 2032687"/>
              <a:gd name="connsiteX48" fmla="*/ 1550773 w 2168610"/>
              <a:gd name="connsiteY48" fmla="*/ 1661984 h 2032687"/>
              <a:gd name="connsiteX49" fmla="*/ 1575486 w 2168610"/>
              <a:gd name="connsiteY49" fmla="*/ 1643449 h 2032687"/>
              <a:gd name="connsiteX50" fmla="*/ 1550773 w 2168610"/>
              <a:gd name="connsiteY50" fmla="*/ 1587844 h 2032687"/>
              <a:gd name="connsiteX51" fmla="*/ 1550773 w 2168610"/>
              <a:gd name="connsiteY51" fmla="*/ 1587844 h 2032687"/>
              <a:gd name="connsiteX52" fmla="*/ 1618735 w 2168610"/>
              <a:gd name="connsiteY52" fmla="*/ 1587844 h 2032687"/>
              <a:gd name="connsiteX53" fmla="*/ 1631092 w 2168610"/>
              <a:gd name="connsiteY53" fmla="*/ 1575487 h 2032687"/>
              <a:gd name="connsiteX54" fmla="*/ 1649627 w 2168610"/>
              <a:gd name="connsiteY54" fmla="*/ 1526060 h 2032687"/>
              <a:gd name="connsiteX55" fmla="*/ 1686697 w 2168610"/>
              <a:gd name="connsiteY55" fmla="*/ 1526060 h 2032687"/>
              <a:gd name="connsiteX56" fmla="*/ 1705232 w 2168610"/>
              <a:gd name="connsiteY56" fmla="*/ 1526060 h 2032687"/>
              <a:gd name="connsiteX57" fmla="*/ 1705232 w 2168610"/>
              <a:gd name="connsiteY57" fmla="*/ 1495168 h 2032687"/>
              <a:gd name="connsiteX58" fmla="*/ 1699054 w 2168610"/>
              <a:gd name="connsiteY58" fmla="*/ 1476633 h 2032687"/>
              <a:gd name="connsiteX59" fmla="*/ 1699054 w 2168610"/>
              <a:gd name="connsiteY59" fmla="*/ 1476633 h 2032687"/>
              <a:gd name="connsiteX60" fmla="*/ 1773194 w 2168610"/>
              <a:gd name="connsiteY60" fmla="*/ 1482811 h 2032687"/>
              <a:gd name="connsiteX61" fmla="*/ 1834978 w 2168610"/>
              <a:gd name="connsiteY61" fmla="*/ 1470455 h 2032687"/>
              <a:gd name="connsiteX62" fmla="*/ 1896762 w 2168610"/>
              <a:gd name="connsiteY62" fmla="*/ 1414849 h 2032687"/>
              <a:gd name="connsiteX63" fmla="*/ 1896762 w 2168610"/>
              <a:gd name="connsiteY63" fmla="*/ 1371600 h 2032687"/>
              <a:gd name="connsiteX64" fmla="*/ 1946189 w 2168610"/>
              <a:gd name="connsiteY64" fmla="*/ 1340709 h 2032687"/>
              <a:gd name="connsiteX65" fmla="*/ 1940010 w 2168610"/>
              <a:gd name="connsiteY65" fmla="*/ 1278925 h 2032687"/>
              <a:gd name="connsiteX66" fmla="*/ 1983259 w 2168610"/>
              <a:gd name="connsiteY66" fmla="*/ 1260390 h 2032687"/>
              <a:gd name="connsiteX67" fmla="*/ 2007973 w 2168610"/>
              <a:gd name="connsiteY67" fmla="*/ 1322173 h 2032687"/>
              <a:gd name="connsiteX68" fmla="*/ 2143897 w 2168610"/>
              <a:gd name="connsiteY68" fmla="*/ 1248033 h 2032687"/>
              <a:gd name="connsiteX69" fmla="*/ 2156254 w 2168610"/>
              <a:gd name="connsiteY69" fmla="*/ 1161536 h 2032687"/>
              <a:gd name="connsiteX70" fmla="*/ 2143897 w 2168610"/>
              <a:gd name="connsiteY70" fmla="*/ 1124465 h 2032687"/>
              <a:gd name="connsiteX71" fmla="*/ 2137719 w 2168610"/>
              <a:gd name="connsiteY71" fmla="*/ 1087395 h 2032687"/>
              <a:gd name="connsiteX72" fmla="*/ 2150075 w 2168610"/>
              <a:gd name="connsiteY72" fmla="*/ 1044146 h 2032687"/>
              <a:gd name="connsiteX73" fmla="*/ 2168610 w 2168610"/>
              <a:gd name="connsiteY73" fmla="*/ 1007076 h 2032687"/>
              <a:gd name="connsiteX74" fmla="*/ 2131540 w 2168610"/>
              <a:gd name="connsiteY74" fmla="*/ 895865 h 2032687"/>
              <a:gd name="connsiteX75" fmla="*/ 2100648 w 2168610"/>
              <a:gd name="connsiteY75" fmla="*/ 864973 h 2032687"/>
              <a:gd name="connsiteX76" fmla="*/ 2075935 w 2168610"/>
              <a:gd name="connsiteY76" fmla="*/ 784655 h 2032687"/>
              <a:gd name="connsiteX77" fmla="*/ 2063578 w 2168610"/>
              <a:gd name="connsiteY77" fmla="*/ 611660 h 2032687"/>
              <a:gd name="connsiteX78" fmla="*/ 2051221 w 2168610"/>
              <a:gd name="connsiteY78" fmla="*/ 512806 h 2032687"/>
              <a:gd name="connsiteX79" fmla="*/ 2032686 w 2168610"/>
              <a:gd name="connsiteY79" fmla="*/ 494271 h 2032687"/>
              <a:gd name="connsiteX80" fmla="*/ 1983259 w 2168610"/>
              <a:gd name="connsiteY80" fmla="*/ 518984 h 2032687"/>
              <a:gd name="connsiteX81" fmla="*/ 1872048 w 2168610"/>
              <a:gd name="connsiteY81" fmla="*/ 463379 h 2032687"/>
              <a:gd name="connsiteX82" fmla="*/ 1834978 w 2168610"/>
              <a:gd name="connsiteY82" fmla="*/ 463379 h 2032687"/>
              <a:gd name="connsiteX83" fmla="*/ 1767016 w 2168610"/>
              <a:gd name="connsiteY83" fmla="*/ 457200 h 2032687"/>
              <a:gd name="connsiteX84" fmla="*/ 1692875 w 2168610"/>
              <a:gd name="connsiteY84" fmla="*/ 512806 h 2032687"/>
              <a:gd name="connsiteX85" fmla="*/ 1631092 w 2168610"/>
              <a:gd name="connsiteY85" fmla="*/ 481914 h 2032687"/>
              <a:gd name="connsiteX86" fmla="*/ 1594021 w 2168610"/>
              <a:gd name="connsiteY86" fmla="*/ 494271 h 2032687"/>
              <a:gd name="connsiteX87" fmla="*/ 1594021 w 2168610"/>
              <a:gd name="connsiteY87" fmla="*/ 494271 h 2032687"/>
              <a:gd name="connsiteX88" fmla="*/ 1519881 w 2168610"/>
              <a:gd name="connsiteY88" fmla="*/ 488092 h 2032687"/>
              <a:gd name="connsiteX89" fmla="*/ 1488989 w 2168610"/>
              <a:gd name="connsiteY89" fmla="*/ 463379 h 2032687"/>
              <a:gd name="connsiteX90" fmla="*/ 1439562 w 2168610"/>
              <a:gd name="connsiteY90" fmla="*/ 481914 h 2032687"/>
              <a:gd name="connsiteX91" fmla="*/ 1353065 w 2168610"/>
              <a:gd name="connsiteY91" fmla="*/ 438665 h 2032687"/>
              <a:gd name="connsiteX92" fmla="*/ 1291281 w 2168610"/>
              <a:gd name="connsiteY92" fmla="*/ 444844 h 2032687"/>
              <a:gd name="connsiteX93" fmla="*/ 1260389 w 2168610"/>
              <a:gd name="connsiteY93" fmla="*/ 432487 h 2032687"/>
              <a:gd name="connsiteX94" fmla="*/ 1235675 w 2168610"/>
              <a:gd name="connsiteY94" fmla="*/ 432487 h 2032687"/>
              <a:gd name="connsiteX95" fmla="*/ 1210962 w 2168610"/>
              <a:gd name="connsiteY95" fmla="*/ 389238 h 2032687"/>
              <a:gd name="connsiteX96" fmla="*/ 1136821 w 2168610"/>
              <a:gd name="connsiteY96" fmla="*/ 395417 h 2032687"/>
              <a:gd name="connsiteX97" fmla="*/ 1105929 w 2168610"/>
              <a:gd name="connsiteY97" fmla="*/ 364525 h 2032687"/>
              <a:gd name="connsiteX98" fmla="*/ 1087394 w 2168610"/>
              <a:gd name="connsiteY98" fmla="*/ 364525 h 2032687"/>
              <a:gd name="connsiteX99" fmla="*/ 1075037 w 2168610"/>
              <a:gd name="connsiteY99" fmla="*/ 352168 h 2032687"/>
              <a:gd name="connsiteX100" fmla="*/ 1062681 w 2168610"/>
              <a:gd name="connsiteY100" fmla="*/ 345990 h 2032687"/>
              <a:gd name="connsiteX101" fmla="*/ 1056502 w 2168610"/>
              <a:gd name="connsiteY101" fmla="*/ 6179 h 2032687"/>
              <a:gd name="connsiteX102" fmla="*/ 586946 w 2168610"/>
              <a:gd name="connsiteY102" fmla="*/ 0 h 2032687"/>
              <a:gd name="connsiteX0" fmla="*/ 586946 w 2168610"/>
              <a:gd name="connsiteY0" fmla="*/ 0 h 2032687"/>
              <a:gd name="connsiteX1" fmla="*/ 580767 w 2168610"/>
              <a:gd name="connsiteY1" fmla="*/ 864973 h 2032687"/>
              <a:gd name="connsiteX2" fmla="*/ 6178 w 2168610"/>
              <a:gd name="connsiteY2" fmla="*/ 846438 h 2032687"/>
              <a:gd name="connsiteX3" fmla="*/ 0 w 2168610"/>
              <a:gd name="connsiteY3" fmla="*/ 883509 h 2032687"/>
              <a:gd name="connsiteX4" fmla="*/ 49427 w 2168610"/>
              <a:gd name="connsiteY4" fmla="*/ 914400 h 2032687"/>
              <a:gd name="connsiteX5" fmla="*/ 105032 w 2168610"/>
              <a:gd name="connsiteY5" fmla="*/ 982363 h 2032687"/>
              <a:gd name="connsiteX6" fmla="*/ 154459 w 2168610"/>
              <a:gd name="connsiteY6" fmla="*/ 1056503 h 2032687"/>
              <a:gd name="connsiteX7" fmla="*/ 203886 w 2168610"/>
              <a:gd name="connsiteY7" fmla="*/ 1068860 h 2032687"/>
              <a:gd name="connsiteX8" fmla="*/ 240956 w 2168610"/>
              <a:gd name="connsiteY8" fmla="*/ 1118287 h 2032687"/>
              <a:gd name="connsiteX9" fmla="*/ 271848 w 2168610"/>
              <a:gd name="connsiteY9" fmla="*/ 1167714 h 2032687"/>
              <a:gd name="connsiteX10" fmla="*/ 296562 w 2168610"/>
              <a:gd name="connsiteY10" fmla="*/ 1223319 h 2032687"/>
              <a:gd name="connsiteX11" fmla="*/ 308919 w 2168610"/>
              <a:gd name="connsiteY11" fmla="*/ 1297460 h 2032687"/>
              <a:gd name="connsiteX12" fmla="*/ 327454 w 2168610"/>
              <a:gd name="connsiteY12" fmla="*/ 1322173 h 2032687"/>
              <a:gd name="connsiteX13" fmla="*/ 432486 w 2168610"/>
              <a:gd name="connsiteY13" fmla="*/ 1402492 h 2032687"/>
              <a:gd name="connsiteX14" fmla="*/ 438665 w 2168610"/>
              <a:gd name="connsiteY14" fmla="*/ 1377779 h 2032687"/>
              <a:gd name="connsiteX15" fmla="*/ 574589 w 2168610"/>
              <a:gd name="connsiteY15" fmla="*/ 1445741 h 2032687"/>
              <a:gd name="connsiteX16" fmla="*/ 574589 w 2168610"/>
              <a:gd name="connsiteY16" fmla="*/ 1445741 h 2032687"/>
              <a:gd name="connsiteX17" fmla="*/ 605481 w 2168610"/>
              <a:gd name="connsiteY17" fmla="*/ 1390136 h 2032687"/>
              <a:gd name="connsiteX18" fmla="*/ 661086 w 2168610"/>
              <a:gd name="connsiteY18" fmla="*/ 1322173 h 2032687"/>
              <a:gd name="connsiteX19" fmla="*/ 729048 w 2168610"/>
              <a:gd name="connsiteY19" fmla="*/ 1303638 h 2032687"/>
              <a:gd name="connsiteX20" fmla="*/ 821724 w 2168610"/>
              <a:gd name="connsiteY20" fmla="*/ 1315995 h 2032687"/>
              <a:gd name="connsiteX21" fmla="*/ 902043 w 2168610"/>
              <a:gd name="connsiteY21" fmla="*/ 1377779 h 2032687"/>
              <a:gd name="connsiteX22" fmla="*/ 957648 w 2168610"/>
              <a:gd name="connsiteY22" fmla="*/ 1458098 h 2032687"/>
              <a:gd name="connsiteX23" fmla="*/ 1013254 w 2168610"/>
              <a:gd name="connsiteY23" fmla="*/ 1538417 h 2032687"/>
              <a:gd name="connsiteX24" fmla="*/ 1062681 w 2168610"/>
              <a:gd name="connsiteY24" fmla="*/ 1624914 h 2032687"/>
              <a:gd name="connsiteX25" fmla="*/ 1118286 w 2168610"/>
              <a:gd name="connsiteY25" fmla="*/ 1692876 h 2032687"/>
              <a:gd name="connsiteX26" fmla="*/ 1167713 w 2168610"/>
              <a:gd name="connsiteY26" fmla="*/ 1729946 h 2032687"/>
              <a:gd name="connsiteX27" fmla="*/ 1198605 w 2168610"/>
              <a:gd name="connsiteY27" fmla="*/ 1810265 h 2032687"/>
              <a:gd name="connsiteX28" fmla="*/ 1223319 w 2168610"/>
              <a:gd name="connsiteY28" fmla="*/ 1872049 h 2032687"/>
              <a:gd name="connsiteX29" fmla="*/ 1248032 w 2168610"/>
              <a:gd name="connsiteY29" fmla="*/ 1933833 h 2032687"/>
              <a:gd name="connsiteX30" fmla="*/ 1278924 w 2168610"/>
              <a:gd name="connsiteY30" fmla="*/ 1977082 h 2032687"/>
              <a:gd name="connsiteX31" fmla="*/ 1340708 w 2168610"/>
              <a:gd name="connsiteY31" fmla="*/ 2001795 h 2032687"/>
              <a:gd name="connsiteX32" fmla="*/ 1439562 w 2168610"/>
              <a:gd name="connsiteY32" fmla="*/ 2020330 h 2032687"/>
              <a:gd name="connsiteX33" fmla="*/ 1513702 w 2168610"/>
              <a:gd name="connsiteY33" fmla="*/ 2032687 h 2032687"/>
              <a:gd name="connsiteX34" fmla="*/ 1606378 w 2168610"/>
              <a:gd name="connsiteY34" fmla="*/ 2032687 h 2032687"/>
              <a:gd name="connsiteX35" fmla="*/ 1587843 w 2168610"/>
              <a:gd name="connsiteY35" fmla="*/ 2020330 h 2032687"/>
              <a:gd name="connsiteX36" fmla="*/ 1587843 w 2168610"/>
              <a:gd name="connsiteY36" fmla="*/ 2020330 h 2032687"/>
              <a:gd name="connsiteX37" fmla="*/ 1575486 w 2168610"/>
              <a:gd name="connsiteY37" fmla="*/ 1952368 h 2032687"/>
              <a:gd name="connsiteX38" fmla="*/ 1550773 w 2168610"/>
              <a:gd name="connsiteY38" fmla="*/ 1921476 h 2032687"/>
              <a:gd name="connsiteX39" fmla="*/ 1544594 w 2168610"/>
              <a:gd name="connsiteY39" fmla="*/ 1884406 h 2032687"/>
              <a:gd name="connsiteX40" fmla="*/ 1526059 w 2168610"/>
              <a:gd name="connsiteY40" fmla="*/ 1841157 h 2032687"/>
              <a:gd name="connsiteX41" fmla="*/ 1538416 w 2168610"/>
              <a:gd name="connsiteY41" fmla="*/ 1810265 h 2032687"/>
              <a:gd name="connsiteX42" fmla="*/ 1532237 w 2168610"/>
              <a:gd name="connsiteY42" fmla="*/ 1791730 h 2032687"/>
              <a:gd name="connsiteX43" fmla="*/ 1488989 w 2168610"/>
              <a:gd name="connsiteY43" fmla="*/ 1767017 h 2032687"/>
              <a:gd name="connsiteX44" fmla="*/ 1538416 w 2168610"/>
              <a:gd name="connsiteY44" fmla="*/ 1736125 h 2032687"/>
              <a:gd name="connsiteX45" fmla="*/ 1544594 w 2168610"/>
              <a:gd name="connsiteY45" fmla="*/ 1723768 h 2032687"/>
              <a:gd name="connsiteX46" fmla="*/ 1550773 w 2168610"/>
              <a:gd name="connsiteY46" fmla="*/ 1692876 h 2032687"/>
              <a:gd name="connsiteX47" fmla="*/ 1526059 w 2168610"/>
              <a:gd name="connsiteY47" fmla="*/ 1661984 h 2032687"/>
              <a:gd name="connsiteX48" fmla="*/ 1550773 w 2168610"/>
              <a:gd name="connsiteY48" fmla="*/ 1661984 h 2032687"/>
              <a:gd name="connsiteX49" fmla="*/ 1575486 w 2168610"/>
              <a:gd name="connsiteY49" fmla="*/ 1643449 h 2032687"/>
              <a:gd name="connsiteX50" fmla="*/ 1550773 w 2168610"/>
              <a:gd name="connsiteY50" fmla="*/ 1587844 h 2032687"/>
              <a:gd name="connsiteX51" fmla="*/ 1550773 w 2168610"/>
              <a:gd name="connsiteY51" fmla="*/ 1587844 h 2032687"/>
              <a:gd name="connsiteX52" fmla="*/ 1618735 w 2168610"/>
              <a:gd name="connsiteY52" fmla="*/ 1587844 h 2032687"/>
              <a:gd name="connsiteX53" fmla="*/ 1631092 w 2168610"/>
              <a:gd name="connsiteY53" fmla="*/ 1575487 h 2032687"/>
              <a:gd name="connsiteX54" fmla="*/ 1649627 w 2168610"/>
              <a:gd name="connsiteY54" fmla="*/ 1526060 h 2032687"/>
              <a:gd name="connsiteX55" fmla="*/ 1686697 w 2168610"/>
              <a:gd name="connsiteY55" fmla="*/ 1526060 h 2032687"/>
              <a:gd name="connsiteX56" fmla="*/ 1705232 w 2168610"/>
              <a:gd name="connsiteY56" fmla="*/ 1526060 h 2032687"/>
              <a:gd name="connsiteX57" fmla="*/ 1705232 w 2168610"/>
              <a:gd name="connsiteY57" fmla="*/ 1495168 h 2032687"/>
              <a:gd name="connsiteX58" fmla="*/ 1699054 w 2168610"/>
              <a:gd name="connsiteY58" fmla="*/ 1476633 h 2032687"/>
              <a:gd name="connsiteX59" fmla="*/ 1699054 w 2168610"/>
              <a:gd name="connsiteY59" fmla="*/ 1476633 h 2032687"/>
              <a:gd name="connsiteX60" fmla="*/ 1773194 w 2168610"/>
              <a:gd name="connsiteY60" fmla="*/ 1482811 h 2032687"/>
              <a:gd name="connsiteX61" fmla="*/ 1834978 w 2168610"/>
              <a:gd name="connsiteY61" fmla="*/ 1470455 h 2032687"/>
              <a:gd name="connsiteX62" fmla="*/ 1896762 w 2168610"/>
              <a:gd name="connsiteY62" fmla="*/ 1414849 h 2032687"/>
              <a:gd name="connsiteX63" fmla="*/ 1896762 w 2168610"/>
              <a:gd name="connsiteY63" fmla="*/ 1371600 h 2032687"/>
              <a:gd name="connsiteX64" fmla="*/ 1946189 w 2168610"/>
              <a:gd name="connsiteY64" fmla="*/ 1340709 h 2032687"/>
              <a:gd name="connsiteX65" fmla="*/ 1940010 w 2168610"/>
              <a:gd name="connsiteY65" fmla="*/ 1278925 h 2032687"/>
              <a:gd name="connsiteX66" fmla="*/ 1983259 w 2168610"/>
              <a:gd name="connsiteY66" fmla="*/ 1260390 h 2032687"/>
              <a:gd name="connsiteX67" fmla="*/ 2007973 w 2168610"/>
              <a:gd name="connsiteY67" fmla="*/ 1322173 h 2032687"/>
              <a:gd name="connsiteX68" fmla="*/ 2143897 w 2168610"/>
              <a:gd name="connsiteY68" fmla="*/ 1248033 h 2032687"/>
              <a:gd name="connsiteX69" fmla="*/ 2156254 w 2168610"/>
              <a:gd name="connsiteY69" fmla="*/ 1161536 h 2032687"/>
              <a:gd name="connsiteX70" fmla="*/ 2143897 w 2168610"/>
              <a:gd name="connsiteY70" fmla="*/ 1124465 h 2032687"/>
              <a:gd name="connsiteX71" fmla="*/ 2137719 w 2168610"/>
              <a:gd name="connsiteY71" fmla="*/ 1087395 h 2032687"/>
              <a:gd name="connsiteX72" fmla="*/ 2150075 w 2168610"/>
              <a:gd name="connsiteY72" fmla="*/ 1044146 h 2032687"/>
              <a:gd name="connsiteX73" fmla="*/ 2168610 w 2168610"/>
              <a:gd name="connsiteY73" fmla="*/ 1007076 h 2032687"/>
              <a:gd name="connsiteX74" fmla="*/ 2131540 w 2168610"/>
              <a:gd name="connsiteY74" fmla="*/ 895865 h 2032687"/>
              <a:gd name="connsiteX75" fmla="*/ 2100648 w 2168610"/>
              <a:gd name="connsiteY75" fmla="*/ 864973 h 2032687"/>
              <a:gd name="connsiteX76" fmla="*/ 2075935 w 2168610"/>
              <a:gd name="connsiteY76" fmla="*/ 784655 h 2032687"/>
              <a:gd name="connsiteX77" fmla="*/ 2063578 w 2168610"/>
              <a:gd name="connsiteY77" fmla="*/ 611660 h 2032687"/>
              <a:gd name="connsiteX78" fmla="*/ 2051221 w 2168610"/>
              <a:gd name="connsiteY78" fmla="*/ 512806 h 2032687"/>
              <a:gd name="connsiteX79" fmla="*/ 2032686 w 2168610"/>
              <a:gd name="connsiteY79" fmla="*/ 494271 h 2032687"/>
              <a:gd name="connsiteX80" fmla="*/ 1983259 w 2168610"/>
              <a:gd name="connsiteY80" fmla="*/ 518984 h 2032687"/>
              <a:gd name="connsiteX81" fmla="*/ 1872048 w 2168610"/>
              <a:gd name="connsiteY81" fmla="*/ 463379 h 2032687"/>
              <a:gd name="connsiteX82" fmla="*/ 1834978 w 2168610"/>
              <a:gd name="connsiteY82" fmla="*/ 463379 h 2032687"/>
              <a:gd name="connsiteX83" fmla="*/ 1767016 w 2168610"/>
              <a:gd name="connsiteY83" fmla="*/ 457200 h 2032687"/>
              <a:gd name="connsiteX84" fmla="*/ 1692875 w 2168610"/>
              <a:gd name="connsiteY84" fmla="*/ 512806 h 2032687"/>
              <a:gd name="connsiteX85" fmla="*/ 1631092 w 2168610"/>
              <a:gd name="connsiteY85" fmla="*/ 481914 h 2032687"/>
              <a:gd name="connsiteX86" fmla="*/ 1594021 w 2168610"/>
              <a:gd name="connsiteY86" fmla="*/ 494271 h 2032687"/>
              <a:gd name="connsiteX87" fmla="*/ 1594021 w 2168610"/>
              <a:gd name="connsiteY87" fmla="*/ 494271 h 2032687"/>
              <a:gd name="connsiteX88" fmla="*/ 1519881 w 2168610"/>
              <a:gd name="connsiteY88" fmla="*/ 488092 h 2032687"/>
              <a:gd name="connsiteX89" fmla="*/ 1488989 w 2168610"/>
              <a:gd name="connsiteY89" fmla="*/ 463379 h 2032687"/>
              <a:gd name="connsiteX90" fmla="*/ 1439562 w 2168610"/>
              <a:gd name="connsiteY90" fmla="*/ 481914 h 2032687"/>
              <a:gd name="connsiteX91" fmla="*/ 1353065 w 2168610"/>
              <a:gd name="connsiteY91" fmla="*/ 438665 h 2032687"/>
              <a:gd name="connsiteX92" fmla="*/ 1291281 w 2168610"/>
              <a:gd name="connsiteY92" fmla="*/ 444844 h 2032687"/>
              <a:gd name="connsiteX93" fmla="*/ 1260389 w 2168610"/>
              <a:gd name="connsiteY93" fmla="*/ 432487 h 2032687"/>
              <a:gd name="connsiteX94" fmla="*/ 1235675 w 2168610"/>
              <a:gd name="connsiteY94" fmla="*/ 432487 h 2032687"/>
              <a:gd name="connsiteX95" fmla="*/ 1210962 w 2168610"/>
              <a:gd name="connsiteY95" fmla="*/ 389238 h 2032687"/>
              <a:gd name="connsiteX96" fmla="*/ 1136821 w 2168610"/>
              <a:gd name="connsiteY96" fmla="*/ 395417 h 2032687"/>
              <a:gd name="connsiteX97" fmla="*/ 1105929 w 2168610"/>
              <a:gd name="connsiteY97" fmla="*/ 364525 h 2032687"/>
              <a:gd name="connsiteX98" fmla="*/ 1087394 w 2168610"/>
              <a:gd name="connsiteY98" fmla="*/ 364525 h 2032687"/>
              <a:gd name="connsiteX99" fmla="*/ 1075037 w 2168610"/>
              <a:gd name="connsiteY99" fmla="*/ 352168 h 2032687"/>
              <a:gd name="connsiteX100" fmla="*/ 1062681 w 2168610"/>
              <a:gd name="connsiteY100" fmla="*/ 345990 h 2032687"/>
              <a:gd name="connsiteX101" fmla="*/ 1068450 w 2168610"/>
              <a:gd name="connsiteY101" fmla="*/ 3796 h 2032687"/>
              <a:gd name="connsiteX102" fmla="*/ 586946 w 2168610"/>
              <a:gd name="connsiteY102" fmla="*/ 0 h 2032687"/>
              <a:gd name="connsiteX0" fmla="*/ 598875 w 2168610"/>
              <a:gd name="connsiteY0" fmla="*/ 0 h 2032687"/>
              <a:gd name="connsiteX1" fmla="*/ 580767 w 2168610"/>
              <a:gd name="connsiteY1" fmla="*/ 864973 h 2032687"/>
              <a:gd name="connsiteX2" fmla="*/ 6178 w 2168610"/>
              <a:gd name="connsiteY2" fmla="*/ 846438 h 2032687"/>
              <a:gd name="connsiteX3" fmla="*/ 0 w 2168610"/>
              <a:gd name="connsiteY3" fmla="*/ 883509 h 2032687"/>
              <a:gd name="connsiteX4" fmla="*/ 49427 w 2168610"/>
              <a:gd name="connsiteY4" fmla="*/ 914400 h 2032687"/>
              <a:gd name="connsiteX5" fmla="*/ 105032 w 2168610"/>
              <a:gd name="connsiteY5" fmla="*/ 982363 h 2032687"/>
              <a:gd name="connsiteX6" fmla="*/ 154459 w 2168610"/>
              <a:gd name="connsiteY6" fmla="*/ 1056503 h 2032687"/>
              <a:gd name="connsiteX7" fmla="*/ 203886 w 2168610"/>
              <a:gd name="connsiteY7" fmla="*/ 1068860 h 2032687"/>
              <a:gd name="connsiteX8" fmla="*/ 240956 w 2168610"/>
              <a:gd name="connsiteY8" fmla="*/ 1118287 h 2032687"/>
              <a:gd name="connsiteX9" fmla="*/ 271848 w 2168610"/>
              <a:gd name="connsiteY9" fmla="*/ 1167714 h 2032687"/>
              <a:gd name="connsiteX10" fmla="*/ 296562 w 2168610"/>
              <a:gd name="connsiteY10" fmla="*/ 1223319 h 2032687"/>
              <a:gd name="connsiteX11" fmla="*/ 308919 w 2168610"/>
              <a:gd name="connsiteY11" fmla="*/ 1297460 h 2032687"/>
              <a:gd name="connsiteX12" fmla="*/ 327454 w 2168610"/>
              <a:gd name="connsiteY12" fmla="*/ 1322173 h 2032687"/>
              <a:gd name="connsiteX13" fmla="*/ 432486 w 2168610"/>
              <a:gd name="connsiteY13" fmla="*/ 1402492 h 2032687"/>
              <a:gd name="connsiteX14" fmla="*/ 438665 w 2168610"/>
              <a:gd name="connsiteY14" fmla="*/ 1377779 h 2032687"/>
              <a:gd name="connsiteX15" fmla="*/ 574589 w 2168610"/>
              <a:gd name="connsiteY15" fmla="*/ 1445741 h 2032687"/>
              <a:gd name="connsiteX16" fmla="*/ 574589 w 2168610"/>
              <a:gd name="connsiteY16" fmla="*/ 1445741 h 2032687"/>
              <a:gd name="connsiteX17" fmla="*/ 605481 w 2168610"/>
              <a:gd name="connsiteY17" fmla="*/ 1390136 h 2032687"/>
              <a:gd name="connsiteX18" fmla="*/ 661086 w 2168610"/>
              <a:gd name="connsiteY18" fmla="*/ 1322173 h 2032687"/>
              <a:gd name="connsiteX19" fmla="*/ 729048 w 2168610"/>
              <a:gd name="connsiteY19" fmla="*/ 1303638 h 2032687"/>
              <a:gd name="connsiteX20" fmla="*/ 821724 w 2168610"/>
              <a:gd name="connsiteY20" fmla="*/ 1315995 h 2032687"/>
              <a:gd name="connsiteX21" fmla="*/ 902043 w 2168610"/>
              <a:gd name="connsiteY21" fmla="*/ 1377779 h 2032687"/>
              <a:gd name="connsiteX22" fmla="*/ 957648 w 2168610"/>
              <a:gd name="connsiteY22" fmla="*/ 1458098 h 2032687"/>
              <a:gd name="connsiteX23" fmla="*/ 1013254 w 2168610"/>
              <a:gd name="connsiteY23" fmla="*/ 1538417 h 2032687"/>
              <a:gd name="connsiteX24" fmla="*/ 1062681 w 2168610"/>
              <a:gd name="connsiteY24" fmla="*/ 1624914 h 2032687"/>
              <a:gd name="connsiteX25" fmla="*/ 1118286 w 2168610"/>
              <a:gd name="connsiteY25" fmla="*/ 1692876 h 2032687"/>
              <a:gd name="connsiteX26" fmla="*/ 1167713 w 2168610"/>
              <a:gd name="connsiteY26" fmla="*/ 1729946 h 2032687"/>
              <a:gd name="connsiteX27" fmla="*/ 1198605 w 2168610"/>
              <a:gd name="connsiteY27" fmla="*/ 1810265 h 2032687"/>
              <a:gd name="connsiteX28" fmla="*/ 1223319 w 2168610"/>
              <a:gd name="connsiteY28" fmla="*/ 1872049 h 2032687"/>
              <a:gd name="connsiteX29" fmla="*/ 1248032 w 2168610"/>
              <a:gd name="connsiteY29" fmla="*/ 1933833 h 2032687"/>
              <a:gd name="connsiteX30" fmla="*/ 1278924 w 2168610"/>
              <a:gd name="connsiteY30" fmla="*/ 1977082 h 2032687"/>
              <a:gd name="connsiteX31" fmla="*/ 1340708 w 2168610"/>
              <a:gd name="connsiteY31" fmla="*/ 2001795 h 2032687"/>
              <a:gd name="connsiteX32" fmla="*/ 1439562 w 2168610"/>
              <a:gd name="connsiteY32" fmla="*/ 2020330 h 2032687"/>
              <a:gd name="connsiteX33" fmla="*/ 1513702 w 2168610"/>
              <a:gd name="connsiteY33" fmla="*/ 2032687 h 2032687"/>
              <a:gd name="connsiteX34" fmla="*/ 1606378 w 2168610"/>
              <a:gd name="connsiteY34" fmla="*/ 2032687 h 2032687"/>
              <a:gd name="connsiteX35" fmla="*/ 1587843 w 2168610"/>
              <a:gd name="connsiteY35" fmla="*/ 2020330 h 2032687"/>
              <a:gd name="connsiteX36" fmla="*/ 1587843 w 2168610"/>
              <a:gd name="connsiteY36" fmla="*/ 2020330 h 2032687"/>
              <a:gd name="connsiteX37" fmla="*/ 1575486 w 2168610"/>
              <a:gd name="connsiteY37" fmla="*/ 1952368 h 2032687"/>
              <a:gd name="connsiteX38" fmla="*/ 1550773 w 2168610"/>
              <a:gd name="connsiteY38" fmla="*/ 1921476 h 2032687"/>
              <a:gd name="connsiteX39" fmla="*/ 1544594 w 2168610"/>
              <a:gd name="connsiteY39" fmla="*/ 1884406 h 2032687"/>
              <a:gd name="connsiteX40" fmla="*/ 1526059 w 2168610"/>
              <a:gd name="connsiteY40" fmla="*/ 1841157 h 2032687"/>
              <a:gd name="connsiteX41" fmla="*/ 1538416 w 2168610"/>
              <a:gd name="connsiteY41" fmla="*/ 1810265 h 2032687"/>
              <a:gd name="connsiteX42" fmla="*/ 1532237 w 2168610"/>
              <a:gd name="connsiteY42" fmla="*/ 1791730 h 2032687"/>
              <a:gd name="connsiteX43" fmla="*/ 1488989 w 2168610"/>
              <a:gd name="connsiteY43" fmla="*/ 1767017 h 2032687"/>
              <a:gd name="connsiteX44" fmla="*/ 1538416 w 2168610"/>
              <a:gd name="connsiteY44" fmla="*/ 1736125 h 2032687"/>
              <a:gd name="connsiteX45" fmla="*/ 1544594 w 2168610"/>
              <a:gd name="connsiteY45" fmla="*/ 1723768 h 2032687"/>
              <a:gd name="connsiteX46" fmla="*/ 1550773 w 2168610"/>
              <a:gd name="connsiteY46" fmla="*/ 1692876 h 2032687"/>
              <a:gd name="connsiteX47" fmla="*/ 1526059 w 2168610"/>
              <a:gd name="connsiteY47" fmla="*/ 1661984 h 2032687"/>
              <a:gd name="connsiteX48" fmla="*/ 1550773 w 2168610"/>
              <a:gd name="connsiteY48" fmla="*/ 1661984 h 2032687"/>
              <a:gd name="connsiteX49" fmla="*/ 1575486 w 2168610"/>
              <a:gd name="connsiteY49" fmla="*/ 1643449 h 2032687"/>
              <a:gd name="connsiteX50" fmla="*/ 1550773 w 2168610"/>
              <a:gd name="connsiteY50" fmla="*/ 1587844 h 2032687"/>
              <a:gd name="connsiteX51" fmla="*/ 1550773 w 2168610"/>
              <a:gd name="connsiteY51" fmla="*/ 1587844 h 2032687"/>
              <a:gd name="connsiteX52" fmla="*/ 1618735 w 2168610"/>
              <a:gd name="connsiteY52" fmla="*/ 1587844 h 2032687"/>
              <a:gd name="connsiteX53" fmla="*/ 1631092 w 2168610"/>
              <a:gd name="connsiteY53" fmla="*/ 1575487 h 2032687"/>
              <a:gd name="connsiteX54" fmla="*/ 1649627 w 2168610"/>
              <a:gd name="connsiteY54" fmla="*/ 1526060 h 2032687"/>
              <a:gd name="connsiteX55" fmla="*/ 1686697 w 2168610"/>
              <a:gd name="connsiteY55" fmla="*/ 1526060 h 2032687"/>
              <a:gd name="connsiteX56" fmla="*/ 1705232 w 2168610"/>
              <a:gd name="connsiteY56" fmla="*/ 1526060 h 2032687"/>
              <a:gd name="connsiteX57" fmla="*/ 1705232 w 2168610"/>
              <a:gd name="connsiteY57" fmla="*/ 1495168 h 2032687"/>
              <a:gd name="connsiteX58" fmla="*/ 1699054 w 2168610"/>
              <a:gd name="connsiteY58" fmla="*/ 1476633 h 2032687"/>
              <a:gd name="connsiteX59" fmla="*/ 1699054 w 2168610"/>
              <a:gd name="connsiteY59" fmla="*/ 1476633 h 2032687"/>
              <a:gd name="connsiteX60" fmla="*/ 1773194 w 2168610"/>
              <a:gd name="connsiteY60" fmla="*/ 1482811 h 2032687"/>
              <a:gd name="connsiteX61" fmla="*/ 1834978 w 2168610"/>
              <a:gd name="connsiteY61" fmla="*/ 1470455 h 2032687"/>
              <a:gd name="connsiteX62" fmla="*/ 1896762 w 2168610"/>
              <a:gd name="connsiteY62" fmla="*/ 1414849 h 2032687"/>
              <a:gd name="connsiteX63" fmla="*/ 1896762 w 2168610"/>
              <a:gd name="connsiteY63" fmla="*/ 1371600 h 2032687"/>
              <a:gd name="connsiteX64" fmla="*/ 1946189 w 2168610"/>
              <a:gd name="connsiteY64" fmla="*/ 1340709 h 2032687"/>
              <a:gd name="connsiteX65" fmla="*/ 1940010 w 2168610"/>
              <a:gd name="connsiteY65" fmla="*/ 1278925 h 2032687"/>
              <a:gd name="connsiteX66" fmla="*/ 1983259 w 2168610"/>
              <a:gd name="connsiteY66" fmla="*/ 1260390 h 2032687"/>
              <a:gd name="connsiteX67" fmla="*/ 2007973 w 2168610"/>
              <a:gd name="connsiteY67" fmla="*/ 1322173 h 2032687"/>
              <a:gd name="connsiteX68" fmla="*/ 2143897 w 2168610"/>
              <a:gd name="connsiteY68" fmla="*/ 1248033 h 2032687"/>
              <a:gd name="connsiteX69" fmla="*/ 2156254 w 2168610"/>
              <a:gd name="connsiteY69" fmla="*/ 1161536 h 2032687"/>
              <a:gd name="connsiteX70" fmla="*/ 2143897 w 2168610"/>
              <a:gd name="connsiteY70" fmla="*/ 1124465 h 2032687"/>
              <a:gd name="connsiteX71" fmla="*/ 2137719 w 2168610"/>
              <a:gd name="connsiteY71" fmla="*/ 1087395 h 2032687"/>
              <a:gd name="connsiteX72" fmla="*/ 2150075 w 2168610"/>
              <a:gd name="connsiteY72" fmla="*/ 1044146 h 2032687"/>
              <a:gd name="connsiteX73" fmla="*/ 2168610 w 2168610"/>
              <a:gd name="connsiteY73" fmla="*/ 1007076 h 2032687"/>
              <a:gd name="connsiteX74" fmla="*/ 2131540 w 2168610"/>
              <a:gd name="connsiteY74" fmla="*/ 895865 h 2032687"/>
              <a:gd name="connsiteX75" fmla="*/ 2100648 w 2168610"/>
              <a:gd name="connsiteY75" fmla="*/ 864973 h 2032687"/>
              <a:gd name="connsiteX76" fmla="*/ 2075935 w 2168610"/>
              <a:gd name="connsiteY76" fmla="*/ 784655 h 2032687"/>
              <a:gd name="connsiteX77" fmla="*/ 2063578 w 2168610"/>
              <a:gd name="connsiteY77" fmla="*/ 611660 h 2032687"/>
              <a:gd name="connsiteX78" fmla="*/ 2051221 w 2168610"/>
              <a:gd name="connsiteY78" fmla="*/ 512806 h 2032687"/>
              <a:gd name="connsiteX79" fmla="*/ 2032686 w 2168610"/>
              <a:gd name="connsiteY79" fmla="*/ 494271 h 2032687"/>
              <a:gd name="connsiteX80" fmla="*/ 1983259 w 2168610"/>
              <a:gd name="connsiteY80" fmla="*/ 518984 h 2032687"/>
              <a:gd name="connsiteX81" fmla="*/ 1872048 w 2168610"/>
              <a:gd name="connsiteY81" fmla="*/ 463379 h 2032687"/>
              <a:gd name="connsiteX82" fmla="*/ 1834978 w 2168610"/>
              <a:gd name="connsiteY82" fmla="*/ 463379 h 2032687"/>
              <a:gd name="connsiteX83" fmla="*/ 1767016 w 2168610"/>
              <a:gd name="connsiteY83" fmla="*/ 457200 h 2032687"/>
              <a:gd name="connsiteX84" fmla="*/ 1692875 w 2168610"/>
              <a:gd name="connsiteY84" fmla="*/ 512806 h 2032687"/>
              <a:gd name="connsiteX85" fmla="*/ 1631092 w 2168610"/>
              <a:gd name="connsiteY85" fmla="*/ 481914 h 2032687"/>
              <a:gd name="connsiteX86" fmla="*/ 1594021 w 2168610"/>
              <a:gd name="connsiteY86" fmla="*/ 494271 h 2032687"/>
              <a:gd name="connsiteX87" fmla="*/ 1594021 w 2168610"/>
              <a:gd name="connsiteY87" fmla="*/ 494271 h 2032687"/>
              <a:gd name="connsiteX88" fmla="*/ 1519881 w 2168610"/>
              <a:gd name="connsiteY88" fmla="*/ 488092 h 2032687"/>
              <a:gd name="connsiteX89" fmla="*/ 1488989 w 2168610"/>
              <a:gd name="connsiteY89" fmla="*/ 463379 h 2032687"/>
              <a:gd name="connsiteX90" fmla="*/ 1439562 w 2168610"/>
              <a:gd name="connsiteY90" fmla="*/ 481914 h 2032687"/>
              <a:gd name="connsiteX91" fmla="*/ 1353065 w 2168610"/>
              <a:gd name="connsiteY91" fmla="*/ 438665 h 2032687"/>
              <a:gd name="connsiteX92" fmla="*/ 1291281 w 2168610"/>
              <a:gd name="connsiteY92" fmla="*/ 444844 h 2032687"/>
              <a:gd name="connsiteX93" fmla="*/ 1260389 w 2168610"/>
              <a:gd name="connsiteY93" fmla="*/ 432487 h 2032687"/>
              <a:gd name="connsiteX94" fmla="*/ 1235675 w 2168610"/>
              <a:gd name="connsiteY94" fmla="*/ 432487 h 2032687"/>
              <a:gd name="connsiteX95" fmla="*/ 1210962 w 2168610"/>
              <a:gd name="connsiteY95" fmla="*/ 389238 h 2032687"/>
              <a:gd name="connsiteX96" fmla="*/ 1136821 w 2168610"/>
              <a:gd name="connsiteY96" fmla="*/ 395417 h 2032687"/>
              <a:gd name="connsiteX97" fmla="*/ 1105929 w 2168610"/>
              <a:gd name="connsiteY97" fmla="*/ 364525 h 2032687"/>
              <a:gd name="connsiteX98" fmla="*/ 1087394 w 2168610"/>
              <a:gd name="connsiteY98" fmla="*/ 364525 h 2032687"/>
              <a:gd name="connsiteX99" fmla="*/ 1075037 w 2168610"/>
              <a:gd name="connsiteY99" fmla="*/ 352168 h 2032687"/>
              <a:gd name="connsiteX100" fmla="*/ 1062681 w 2168610"/>
              <a:gd name="connsiteY100" fmla="*/ 345990 h 2032687"/>
              <a:gd name="connsiteX101" fmla="*/ 1068450 w 2168610"/>
              <a:gd name="connsiteY101" fmla="*/ 3796 h 2032687"/>
              <a:gd name="connsiteX102" fmla="*/ 598875 w 2168610"/>
              <a:gd name="connsiteY102" fmla="*/ 0 h 2032687"/>
              <a:gd name="connsiteX0" fmla="*/ 598898 w 2168610"/>
              <a:gd name="connsiteY0" fmla="*/ 0 h 2039827"/>
              <a:gd name="connsiteX1" fmla="*/ 580767 w 2168610"/>
              <a:gd name="connsiteY1" fmla="*/ 872113 h 2039827"/>
              <a:gd name="connsiteX2" fmla="*/ 6178 w 2168610"/>
              <a:gd name="connsiteY2" fmla="*/ 853578 h 2039827"/>
              <a:gd name="connsiteX3" fmla="*/ 0 w 2168610"/>
              <a:gd name="connsiteY3" fmla="*/ 890649 h 2039827"/>
              <a:gd name="connsiteX4" fmla="*/ 49427 w 2168610"/>
              <a:gd name="connsiteY4" fmla="*/ 921540 h 2039827"/>
              <a:gd name="connsiteX5" fmla="*/ 105032 w 2168610"/>
              <a:gd name="connsiteY5" fmla="*/ 989503 h 2039827"/>
              <a:gd name="connsiteX6" fmla="*/ 154459 w 2168610"/>
              <a:gd name="connsiteY6" fmla="*/ 1063643 h 2039827"/>
              <a:gd name="connsiteX7" fmla="*/ 203886 w 2168610"/>
              <a:gd name="connsiteY7" fmla="*/ 1076000 h 2039827"/>
              <a:gd name="connsiteX8" fmla="*/ 240956 w 2168610"/>
              <a:gd name="connsiteY8" fmla="*/ 1125427 h 2039827"/>
              <a:gd name="connsiteX9" fmla="*/ 271848 w 2168610"/>
              <a:gd name="connsiteY9" fmla="*/ 1174854 h 2039827"/>
              <a:gd name="connsiteX10" fmla="*/ 296562 w 2168610"/>
              <a:gd name="connsiteY10" fmla="*/ 1230459 h 2039827"/>
              <a:gd name="connsiteX11" fmla="*/ 308919 w 2168610"/>
              <a:gd name="connsiteY11" fmla="*/ 1304600 h 2039827"/>
              <a:gd name="connsiteX12" fmla="*/ 327454 w 2168610"/>
              <a:gd name="connsiteY12" fmla="*/ 1329313 h 2039827"/>
              <a:gd name="connsiteX13" fmla="*/ 432486 w 2168610"/>
              <a:gd name="connsiteY13" fmla="*/ 1409632 h 2039827"/>
              <a:gd name="connsiteX14" fmla="*/ 438665 w 2168610"/>
              <a:gd name="connsiteY14" fmla="*/ 1384919 h 2039827"/>
              <a:gd name="connsiteX15" fmla="*/ 574589 w 2168610"/>
              <a:gd name="connsiteY15" fmla="*/ 1452881 h 2039827"/>
              <a:gd name="connsiteX16" fmla="*/ 574589 w 2168610"/>
              <a:gd name="connsiteY16" fmla="*/ 1452881 h 2039827"/>
              <a:gd name="connsiteX17" fmla="*/ 605481 w 2168610"/>
              <a:gd name="connsiteY17" fmla="*/ 1397276 h 2039827"/>
              <a:gd name="connsiteX18" fmla="*/ 661086 w 2168610"/>
              <a:gd name="connsiteY18" fmla="*/ 1329313 h 2039827"/>
              <a:gd name="connsiteX19" fmla="*/ 729048 w 2168610"/>
              <a:gd name="connsiteY19" fmla="*/ 1310778 h 2039827"/>
              <a:gd name="connsiteX20" fmla="*/ 821724 w 2168610"/>
              <a:gd name="connsiteY20" fmla="*/ 1323135 h 2039827"/>
              <a:gd name="connsiteX21" fmla="*/ 902043 w 2168610"/>
              <a:gd name="connsiteY21" fmla="*/ 1384919 h 2039827"/>
              <a:gd name="connsiteX22" fmla="*/ 957648 w 2168610"/>
              <a:gd name="connsiteY22" fmla="*/ 1465238 h 2039827"/>
              <a:gd name="connsiteX23" fmla="*/ 1013254 w 2168610"/>
              <a:gd name="connsiteY23" fmla="*/ 1545557 h 2039827"/>
              <a:gd name="connsiteX24" fmla="*/ 1062681 w 2168610"/>
              <a:gd name="connsiteY24" fmla="*/ 1632054 h 2039827"/>
              <a:gd name="connsiteX25" fmla="*/ 1118286 w 2168610"/>
              <a:gd name="connsiteY25" fmla="*/ 1700016 h 2039827"/>
              <a:gd name="connsiteX26" fmla="*/ 1167713 w 2168610"/>
              <a:gd name="connsiteY26" fmla="*/ 1737086 h 2039827"/>
              <a:gd name="connsiteX27" fmla="*/ 1198605 w 2168610"/>
              <a:gd name="connsiteY27" fmla="*/ 1817405 h 2039827"/>
              <a:gd name="connsiteX28" fmla="*/ 1223319 w 2168610"/>
              <a:gd name="connsiteY28" fmla="*/ 1879189 h 2039827"/>
              <a:gd name="connsiteX29" fmla="*/ 1248032 w 2168610"/>
              <a:gd name="connsiteY29" fmla="*/ 1940973 h 2039827"/>
              <a:gd name="connsiteX30" fmla="*/ 1278924 w 2168610"/>
              <a:gd name="connsiteY30" fmla="*/ 1984222 h 2039827"/>
              <a:gd name="connsiteX31" fmla="*/ 1340708 w 2168610"/>
              <a:gd name="connsiteY31" fmla="*/ 2008935 h 2039827"/>
              <a:gd name="connsiteX32" fmla="*/ 1439562 w 2168610"/>
              <a:gd name="connsiteY32" fmla="*/ 2027470 h 2039827"/>
              <a:gd name="connsiteX33" fmla="*/ 1513702 w 2168610"/>
              <a:gd name="connsiteY33" fmla="*/ 2039827 h 2039827"/>
              <a:gd name="connsiteX34" fmla="*/ 1606378 w 2168610"/>
              <a:gd name="connsiteY34" fmla="*/ 2039827 h 2039827"/>
              <a:gd name="connsiteX35" fmla="*/ 1587843 w 2168610"/>
              <a:gd name="connsiteY35" fmla="*/ 2027470 h 2039827"/>
              <a:gd name="connsiteX36" fmla="*/ 1587843 w 2168610"/>
              <a:gd name="connsiteY36" fmla="*/ 2027470 h 2039827"/>
              <a:gd name="connsiteX37" fmla="*/ 1575486 w 2168610"/>
              <a:gd name="connsiteY37" fmla="*/ 1959508 h 2039827"/>
              <a:gd name="connsiteX38" fmla="*/ 1550773 w 2168610"/>
              <a:gd name="connsiteY38" fmla="*/ 1928616 h 2039827"/>
              <a:gd name="connsiteX39" fmla="*/ 1544594 w 2168610"/>
              <a:gd name="connsiteY39" fmla="*/ 1891546 h 2039827"/>
              <a:gd name="connsiteX40" fmla="*/ 1526059 w 2168610"/>
              <a:gd name="connsiteY40" fmla="*/ 1848297 h 2039827"/>
              <a:gd name="connsiteX41" fmla="*/ 1538416 w 2168610"/>
              <a:gd name="connsiteY41" fmla="*/ 1817405 h 2039827"/>
              <a:gd name="connsiteX42" fmla="*/ 1532237 w 2168610"/>
              <a:gd name="connsiteY42" fmla="*/ 1798870 h 2039827"/>
              <a:gd name="connsiteX43" fmla="*/ 1488989 w 2168610"/>
              <a:gd name="connsiteY43" fmla="*/ 1774157 h 2039827"/>
              <a:gd name="connsiteX44" fmla="*/ 1538416 w 2168610"/>
              <a:gd name="connsiteY44" fmla="*/ 1743265 h 2039827"/>
              <a:gd name="connsiteX45" fmla="*/ 1544594 w 2168610"/>
              <a:gd name="connsiteY45" fmla="*/ 1730908 h 2039827"/>
              <a:gd name="connsiteX46" fmla="*/ 1550773 w 2168610"/>
              <a:gd name="connsiteY46" fmla="*/ 1700016 h 2039827"/>
              <a:gd name="connsiteX47" fmla="*/ 1526059 w 2168610"/>
              <a:gd name="connsiteY47" fmla="*/ 1669124 h 2039827"/>
              <a:gd name="connsiteX48" fmla="*/ 1550773 w 2168610"/>
              <a:gd name="connsiteY48" fmla="*/ 1669124 h 2039827"/>
              <a:gd name="connsiteX49" fmla="*/ 1575486 w 2168610"/>
              <a:gd name="connsiteY49" fmla="*/ 1650589 h 2039827"/>
              <a:gd name="connsiteX50" fmla="*/ 1550773 w 2168610"/>
              <a:gd name="connsiteY50" fmla="*/ 1594984 h 2039827"/>
              <a:gd name="connsiteX51" fmla="*/ 1550773 w 2168610"/>
              <a:gd name="connsiteY51" fmla="*/ 1594984 h 2039827"/>
              <a:gd name="connsiteX52" fmla="*/ 1618735 w 2168610"/>
              <a:gd name="connsiteY52" fmla="*/ 1594984 h 2039827"/>
              <a:gd name="connsiteX53" fmla="*/ 1631092 w 2168610"/>
              <a:gd name="connsiteY53" fmla="*/ 1582627 h 2039827"/>
              <a:gd name="connsiteX54" fmla="*/ 1649627 w 2168610"/>
              <a:gd name="connsiteY54" fmla="*/ 1533200 h 2039827"/>
              <a:gd name="connsiteX55" fmla="*/ 1686697 w 2168610"/>
              <a:gd name="connsiteY55" fmla="*/ 1533200 h 2039827"/>
              <a:gd name="connsiteX56" fmla="*/ 1705232 w 2168610"/>
              <a:gd name="connsiteY56" fmla="*/ 1533200 h 2039827"/>
              <a:gd name="connsiteX57" fmla="*/ 1705232 w 2168610"/>
              <a:gd name="connsiteY57" fmla="*/ 1502308 h 2039827"/>
              <a:gd name="connsiteX58" fmla="*/ 1699054 w 2168610"/>
              <a:gd name="connsiteY58" fmla="*/ 1483773 h 2039827"/>
              <a:gd name="connsiteX59" fmla="*/ 1699054 w 2168610"/>
              <a:gd name="connsiteY59" fmla="*/ 1483773 h 2039827"/>
              <a:gd name="connsiteX60" fmla="*/ 1773194 w 2168610"/>
              <a:gd name="connsiteY60" fmla="*/ 1489951 h 2039827"/>
              <a:gd name="connsiteX61" fmla="*/ 1834978 w 2168610"/>
              <a:gd name="connsiteY61" fmla="*/ 1477595 h 2039827"/>
              <a:gd name="connsiteX62" fmla="*/ 1896762 w 2168610"/>
              <a:gd name="connsiteY62" fmla="*/ 1421989 h 2039827"/>
              <a:gd name="connsiteX63" fmla="*/ 1896762 w 2168610"/>
              <a:gd name="connsiteY63" fmla="*/ 1378740 h 2039827"/>
              <a:gd name="connsiteX64" fmla="*/ 1946189 w 2168610"/>
              <a:gd name="connsiteY64" fmla="*/ 1347849 h 2039827"/>
              <a:gd name="connsiteX65" fmla="*/ 1940010 w 2168610"/>
              <a:gd name="connsiteY65" fmla="*/ 1286065 h 2039827"/>
              <a:gd name="connsiteX66" fmla="*/ 1983259 w 2168610"/>
              <a:gd name="connsiteY66" fmla="*/ 1267530 h 2039827"/>
              <a:gd name="connsiteX67" fmla="*/ 2007973 w 2168610"/>
              <a:gd name="connsiteY67" fmla="*/ 1329313 h 2039827"/>
              <a:gd name="connsiteX68" fmla="*/ 2143897 w 2168610"/>
              <a:gd name="connsiteY68" fmla="*/ 1255173 h 2039827"/>
              <a:gd name="connsiteX69" fmla="*/ 2156254 w 2168610"/>
              <a:gd name="connsiteY69" fmla="*/ 1168676 h 2039827"/>
              <a:gd name="connsiteX70" fmla="*/ 2143897 w 2168610"/>
              <a:gd name="connsiteY70" fmla="*/ 1131605 h 2039827"/>
              <a:gd name="connsiteX71" fmla="*/ 2137719 w 2168610"/>
              <a:gd name="connsiteY71" fmla="*/ 1094535 h 2039827"/>
              <a:gd name="connsiteX72" fmla="*/ 2150075 w 2168610"/>
              <a:gd name="connsiteY72" fmla="*/ 1051286 h 2039827"/>
              <a:gd name="connsiteX73" fmla="*/ 2168610 w 2168610"/>
              <a:gd name="connsiteY73" fmla="*/ 1014216 h 2039827"/>
              <a:gd name="connsiteX74" fmla="*/ 2131540 w 2168610"/>
              <a:gd name="connsiteY74" fmla="*/ 903005 h 2039827"/>
              <a:gd name="connsiteX75" fmla="*/ 2100648 w 2168610"/>
              <a:gd name="connsiteY75" fmla="*/ 872113 h 2039827"/>
              <a:gd name="connsiteX76" fmla="*/ 2075935 w 2168610"/>
              <a:gd name="connsiteY76" fmla="*/ 791795 h 2039827"/>
              <a:gd name="connsiteX77" fmla="*/ 2063578 w 2168610"/>
              <a:gd name="connsiteY77" fmla="*/ 618800 h 2039827"/>
              <a:gd name="connsiteX78" fmla="*/ 2051221 w 2168610"/>
              <a:gd name="connsiteY78" fmla="*/ 519946 h 2039827"/>
              <a:gd name="connsiteX79" fmla="*/ 2032686 w 2168610"/>
              <a:gd name="connsiteY79" fmla="*/ 501411 h 2039827"/>
              <a:gd name="connsiteX80" fmla="*/ 1983259 w 2168610"/>
              <a:gd name="connsiteY80" fmla="*/ 526124 h 2039827"/>
              <a:gd name="connsiteX81" fmla="*/ 1872048 w 2168610"/>
              <a:gd name="connsiteY81" fmla="*/ 470519 h 2039827"/>
              <a:gd name="connsiteX82" fmla="*/ 1834978 w 2168610"/>
              <a:gd name="connsiteY82" fmla="*/ 470519 h 2039827"/>
              <a:gd name="connsiteX83" fmla="*/ 1767016 w 2168610"/>
              <a:gd name="connsiteY83" fmla="*/ 464340 h 2039827"/>
              <a:gd name="connsiteX84" fmla="*/ 1692875 w 2168610"/>
              <a:gd name="connsiteY84" fmla="*/ 519946 h 2039827"/>
              <a:gd name="connsiteX85" fmla="*/ 1631092 w 2168610"/>
              <a:gd name="connsiteY85" fmla="*/ 489054 h 2039827"/>
              <a:gd name="connsiteX86" fmla="*/ 1594021 w 2168610"/>
              <a:gd name="connsiteY86" fmla="*/ 501411 h 2039827"/>
              <a:gd name="connsiteX87" fmla="*/ 1594021 w 2168610"/>
              <a:gd name="connsiteY87" fmla="*/ 501411 h 2039827"/>
              <a:gd name="connsiteX88" fmla="*/ 1519881 w 2168610"/>
              <a:gd name="connsiteY88" fmla="*/ 495232 h 2039827"/>
              <a:gd name="connsiteX89" fmla="*/ 1488989 w 2168610"/>
              <a:gd name="connsiteY89" fmla="*/ 470519 h 2039827"/>
              <a:gd name="connsiteX90" fmla="*/ 1439562 w 2168610"/>
              <a:gd name="connsiteY90" fmla="*/ 489054 h 2039827"/>
              <a:gd name="connsiteX91" fmla="*/ 1353065 w 2168610"/>
              <a:gd name="connsiteY91" fmla="*/ 445805 h 2039827"/>
              <a:gd name="connsiteX92" fmla="*/ 1291281 w 2168610"/>
              <a:gd name="connsiteY92" fmla="*/ 451984 h 2039827"/>
              <a:gd name="connsiteX93" fmla="*/ 1260389 w 2168610"/>
              <a:gd name="connsiteY93" fmla="*/ 439627 h 2039827"/>
              <a:gd name="connsiteX94" fmla="*/ 1235675 w 2168610"/>
              <a:gd name="connsiteY94" fmla="*/ 439627 h 2039827"/>
              <a:gd name="connsiteX95" fmla="*/ 1210962 w 2168610"/>
              <a:gd name="connsiteY95" fmla="*/ 396378 h 2039827"/>
              <a:gd name="connsiteX96" fmla="*/ 1136821 w 2168610"/>
              <a:gd name="connsiteY96" fmla="*/ 402557 h 2039827"/>
              <a:gd name="connsiteX97" fmla="*/ 1105929 w 2168610"/>
              <a:gd name="connsiteY97" fmla="*/ 371665 h 2039827"/>
              <a:gd name="connsiteX98" fmla="*/ 1087394 w 2168610"/>
              <a:gd name="connsiteY98" fmla="*/ 371665 h 2039827"/>
              <a:gd name="connsiteX99" fmla="*/ 1075037 w 2168610"/>
              <a:gd name="connsiteY99" fmla="*/ 359308 h 2039827"/>
              <a:gd name="connsiteX100" fmla="*/ 1062681 w 2168610"/>
              <a:gd name="connsiteY100" fmla="*/ 353130 h 2039827"/>
              <a:gd name="connsiteX101" fmla="*/ 1068450 w 2168610"/>
              <a:gd name="connsiteY101" fmla="*/ 10936 h 2039827"/>
              <a:gd name="connsiteX102" fmla="*/ 598898 w 2168610"/>
              <a:gd name="connsiteY102" fmla="*/ 0 h 2039827"/>
              <a:gd name="connsiteX0" fmla="*/ 598898 w 2168610"/>
              <a:gd name="connsiteY0" fmla="*/ 0 h 2039827"/>
              <a:gd name="connsiteX1" fmla="*/ 580767 w 2168610"/>
              <a:gd name="connsiteY1" fmla="*/ 872113 h 2039827"/>
              <a:gd name="connsiteX2" fmla="*/ 6178 w 2168610"/>
              <a:gd name="connsiteY2" fmla="*/ 853578 h 2039827"/>
              <a:gd name="connsiteX3" fmla="*/ 0 w 2168610"/>
              <a:gd name="connsiteY3" fmla="*/ 890649 h 2039827"/>
              <a:gd name="connsiteX4" fmla="*/ 49427 w 2168610"/>
              <a:gd name="connsiteY4" fmla="*/ 921540 h 2039827"/>
              <a:gd name="connsiteX5" fmla="*/ 105032 w 2168610"/>
              <a:gd name="connsiteY5" fmla="*/ 989503 h 2039827"/>
              <a:gd name="connsiteX6" fmla="*/ 154459 w 2168610"/>
              <a:gd name="connsiteY6" fmla="*/ 1063643 h 2039827"/>
              <a:gd name="connsiteX7" fmla="*/ 203886 w 2168610"/>
              <a:gd name="connsiteY7" fmla="*/ 1076000 h 2039827"/>
              <a:gd name="connsiteX8" fmla="*/ 240956 w 2168610"/>
              <a:gd name="connsiteY8" fmla="*/ 1125427 h 2039827"/>
              <a:gd name="connsiteX9" fmla="*/ 271848 w 2168610"/>
              <a:gd name="connsiteY9" fmla="*/ 1174854 h 2039827"/>
              <a:gd name="connsiteX10" fmla="*/ 296562 w 2168610"/>
              <a:gd name="connsiteY10" fmla="*/ 1230459 h 2039827"/>
              <a:gd name="connsiteX11" fmla="*/ 308919 w 2168610"/>
              <a:gd name="connsiteY11" fmla="*/ 1304600 h 2039827"/>
              <a:gd name="connsiteX12" fmla="*/ 327454 w 2168610"/>
              <a:gd name="connsiteY12" fmla="*/ 1329313 h 2039827"/>
              <a:gd name="connsiteX13" fmla="*/ 432486 w 2168610"/>
              <a:gd name="connsiteY13" fmla="*/ 1409632 h 2039827"/>
              <a:gd name="connsiteX14" fmla="*/ 438665 w 2168610"/>
              <a:gd name="connsiteY14" fmla="*/ 1384919 h 2039827"/>
              <a:gd name="connsiteX15" fmla="*/ 574589 w 2168610"/>
              <a:gd name="connsiteY15" fmla="*/ 1452881 h 2039827"/>
              <a:gd name="connsiteX16" fmla="*/ 574589 w 2168610"/>
              <a:gd name="connsiteY16" fmla="*/ 1452881 h 2039827"/>
              <a:gd name="connsiteX17" fmla="*/ 605481 w 2168610"/>
              <a:gd name="connsiteY17" fmla="*/ 1397276 h 2039827"/>
              <a:gd name="connsiteX18" fmla="*/ 661086 w 2168610"/>
              <a:gd name="connsiteY18" fmla="*/ 1329313 h 2039827"/>
              <a:gd name="connsiteX19" fmla="*/ 729048 w 2168610"/>
              <a:gd name="connsiteY19" fmla="*/ 1310778 h 2039827"/>
              <a:gd name="connsiteX20" fmla="*/ 821724 w 2168610"/>
              <a:gd name="connsiteY20" fmla="*/ 1323135 h 2039827"/>
              <a:gd name="connsiteX21" fmla="*/ 902043 w 2168610"/>
              <a:gd name="connsiteY21" fmla="*/ 1384919 h 2039827"/>
              <a:gd name="connsiteX22" fmla="*/ 957648 w 2168610"/>
              <a:gd name="connsiteY22" fmla="*/ 1465238 h 2039827"/>
              <a:gd name="connsiteX23" fmla="*/ 1013254 w 2168610"/>
              <a:gd name="connsiteY23" fmla="*/ 1545557 h 2039827"/>
              <a:gd name="connsiteX24" fmla="*/ 1062681 w 2168610"/>
              <a:gd name="connsiteY24" fmla="*/ 1632054 h 2039827"/>
              <a:gd name="connsiteX25" fmla="*/ 1118286 w 2168610"/>
              <a:gd name="connsiteY25" fmla="*/ 1700016 h 2039827"/>
              <a:gd name="connsiteX26" fmla="*/ 1167713 w 2168610"/>
              <a:gd name="connsiteY26" fmla="*/ 1737086 h 2039827"/>
              <a:gd name="connsiteX27" fmla="*/ 1198605 w 2168610"/>
              <a:gd name="connsiteY27" fmla="*/ 1817405 h 2039827"/>
              <a:gd name="connsiteX28" fmla="*/ 1223319 w 2168610"/>
              <a:gd name="connsiteY28" fmla="*/ 1879189 h 2039827"/>
              <a:gd name="connsiteX29" fmla="*/ 1248032 w 2168610"/>
              <a:gd name="connsiteY29" fmla="*/ 1940973 h 2039827"/>
              <a:gd name="connsiteX30" fmla="*/ 1278924 w 2168610"/>
              <a:gd name="connsiteY30" fmla="*/ 1984222 h 2039827"/>
              <a:gd name="connsiteX31" fmla="*/ 1340708 w 2168610"/>
              <a:gd name="connsiteY31" fmla="*/ 2008935 h 2039827"/>
              <a:gd name="connsiteX32" fmla="*/ 1439562 w 2168610"/>
              <a:gd name="connsiteY32" fmla="*/ 2027470 h 2039827"/>
              <a:gd name="connsiteX33" fmla="*/ 1513702 w 2168610"/>
              <a:gd name="connsiteY33" fmla="*/ 2039827 h 2039827"/>
              <a:gd name="connsiteX34" fmla="*/ 1606378 w 2168610"/>
              <a:gd name="connsiteY34" fmla="*/ 2039827 h 2039827"/>
              <a:gd name="connsiteX35" fmla="*/ 1587843 w 2168610"/>
              <a:gd name="connsiteY35" fmla="*/ 2027470 h 2039827"/>
              <a:gd name="connsiteX36" fmla="*/ 1587843 w 2168610"/>
              <a:gd name="connsiteY36" fmla="*/ 2027470 h 2039827"/>
              <a:gd name="connsiteX37" fmla="*/ 1575486 w 2168610"/>
              <a:gd name="connsiteY37" fmla="*/ 1959508 h 2039827"/>
              <a:gd name="connsiteX38" fmla="*/ 1550773 w 2168610"/>
              <a:gd name="connsiteY38" fmla="*/ 1928616 h 2039827"/>
              <a:gd name="connsiteX39" fmla="*/ 1544594 w 2168610"/>
              <a:gd name="connsiteY39" fmla="*/ 1891546 h 2039827"/>
              <a:gd name="connsiteX40" fmla="*/ 1526059 w 2168610"/>
              <a:gd name="connsiteY40" fmla="*/ 1848297 h 2039827"/>
              <a:gd name="connsiteX41" fmla="*/ 1538416 w 2168610"/>
              <a:gd name="connsiteY41" fmla="*/ 1817405 h 2039827"/>
              <a:gd name="connsiteX42" fmla="*/ 1532237 w 2168610"/>
              <a:gd name="connsiteY42" fmla="*/ 1798870 h 2039827"/>
              <a:gd name="connsiteX43" fmla="*/ 1488989 w 2168610"/>
              <a:gd name="connsiteY43" fmla="*/ 1774157 h 2039827"/>
              <a:gd name="connsiteX44" fmla="*/ 1538416 w 2168610"/>
              <a:gd name="connsiteY44" fmla="*/ 1743265 h 2039827"/>
              <a:gd name="connsiteX45" fmla="*/ 1544594 w 2168610"/>
              <a:gd name="connsiteY45" fmla="*/ 1730908 h 2039827"/>
              <a:gd name="connsiteX46" fmla="*/ 1550773 w 2168610"/>
              <a:gd name="connsiteY46" fmla="*/ 1700016 h 2039827"/>
              <a:gd name="connsiteX47" fmla="*/ 1526059 w 2168610"/>
              <a:gd name="connsiteY47" fmla="*/ 1669124 h 2039827"/>
              <a:gd name="connsiteX48" fmla="*/ 1550773 w 2168610"/>
              <a:gd name="connsiteY48" fmla="*/ 1669124 h 2039827"/>
              <a:gd name="connsiteX49" fmla="*/ 1575486 w 2168610"/>
              <a:gd name="connsiteY49" fmla="*/ 1650589 h 2039827"/>
              <a:gd name="connsiteX50" fmla="*/ 1550773 w 2168610"/>
              <a:gd name="connsiteY50" fmla="*/ 1594984 h 2039827"/>
              <a:gd name="connsiteX51" fmla="*/ 1550773 w 2168610"/>
              <a:gd name="connsiteY51" fmla="*/ 1594984 h 2039827"/>
              <a:gd name="connsiteX52" fmla="*/ 1618735 w 2168610"/>
              <a:gd name="connsiteY52" fmla="*/ 1594984 h 2039827"/>
              <a:gd name="connsiteX53" fmla="*/ 1631092 w 2168610"/>
              <a:gd name="connsiteY53" fmla="*/ 1582627 h 2039827"/>
              <a:gd name="connsiteX54" fmla="*/ 1649627 w 2168610"/>
              <a:gd name="connsiteY54" fmla="*/ 1533200 h 2039827"/>
              <a:gd name="connsiteX55" fmla="*/ 1686697 w 2168610"/>
              <a:gd name="connsiteY55" fmla="*/ 1533200 h 2039827"/>
              <a:gd name="connsiteX56" fmla="*/ 1705232 w 2168610"/>
              <a:gd name="connsiteY56" fmla="*/ 1533200 h 2039827"/>
              <a:gd name="connsiteX57" fmla="*/ 1705232 w 2168610"/>
              <a:gd name="connsiteY57" fmla="*/ 1502308 h 2039827"/>
              <a:gd name="connsiteX58" fmla="*/ 1699054 w 2168610"/>
              <a:gd name="connsiteY58" fmla="*/ 1483773 h 2039827"/>
              <a:gd name="connsiteX59" fmla="*/ 1699054 w 2168610"/>
              <a:gd name="connsiteY59" fmla="*/ 1483773 h 2039827"/>
              <a:gd name="connsiteX60" fmla="*/ 1773194 w 2168610"/>
              <a:gd name="connsiteY60" fmla="*/ 1489951 h 2039827"/>
              <a:gd name="connsiteX61" fmla="*/ 1834978 w 2168610"/>
              <a:gd name="connsiteY61" fmla="*/ 1477595 h 2039827"/>
              <a:gd name="connsiteX62" fmla="*/ 1896762 w 2168610"/>
              <a:gd name="connsiteY62" fmla="*/ 1421989 h 2039827"/>
              <a:gd name="connsiteX63" fmla="*/ 1896762 w 2168610"/>
              <a:gd name="connsiteY63" fmla="*/ 1378740 h 2039827"/>
              <a:gd name="connsiteX64" fmla="*/ 1946189 w 2168610"/>
              <a:gd name="connsiteY64" fmla="*/ 1347849 h 2039827"/>
              <a:gd name="connsiteX65" fmla="*/ 1940010 w 2168610"/>
              <a:gd name="connsiteY65" fmla="*/ 1286065 h 2039827"/>
              <a:gd name="connsiteX66" fmla="*/ 1983259 w 2168610"/>
              <a:gd name="connsiteY66" fmla="*/ 1267530 h 2039827"/>
              <a:gd name="connsiteX67" fmla="*/ 2007973 w 2168610"/>
              <a:gd name="connsiteY67" fmla="*/ 1329313 h 2039827"/>
              <a:gd name="connsiteX68" fmla="*/ 2143897 w 2168610"/>
              <a:gd name="connsiteY68" fmla="*/ 1255173 h 2039827"/>
              <a:gd name="connsiteX69" fmla="*/ 2156254 w 2168610"/>
              <a:gd name="connsiteY69" fmla="*/ 1168676 h 2039827"/>
              <a:gd name="connsiteX70" fmla="*/ 2143897 w 2168610"/>
              <a:gd name="connsiteY70" fmla="*/ 1131605 h 2039827"/>
              <a:gd name="connsiteX71" fmla="*/ 2137719 w 2168610"/>
              <a:gd name="connsiteY71" fmla="*/ 1094535 h 2039827"/>
              <a:gd name="connsiteX72" fmla="*/ 2150075 w 2168610"/>
              <a:gd name="connsiteY72" fmla="*/ 1051286 h 2039827"/>
              <a:gd name="connsiteX73" fmla="*/ 2168610 w 2168610"/>
              <a:gd name="connsiteY73" fmla="*/ 1014216 h 2039827"/>
              <a:gd name="connsiteX74" fmla="*/ 2131540 w 2168610"/>
              <a:gd name="connsiteY74" fmla="*/ 903005 h 2039827"/>
              <a:gd name="connsiteX75" fmla="*/ 2100648 w 2168610"/>
              <a:gd name="connsiteY75" fmla="*/ 872113 h 2039827"/>
              <a:gd name="connsiteX76" fmla="*/ 2075935 w 2168610"/>
              <a:gd name="connsiteY76" fmla="*/ 791795 h 2039827"/>
              <a:gd name="connsiteX77" fmla="*/ 2063578 w 2168610"/>
              <a:gd name="connsiteY77" fmla="*/ 618800 h 2039827"/>
              <a:gd name="connsiteX78" fmla="*/ 2051221 w 2168610"/>
              <a:gd name="connsiteY78" fmla="*/ 519946 h 2039827"/>
              <a:gd name="connsiteX79" fmla="*/ 2032686 w 2168610"/>
              <a:gd name="connsiteY79" fmla="*/ 501411 h 2039827"/>
              <a:gd name="connsiteX80" fmla="*/ 1983259 w 2168610"/>
              <a:gd name="connsiteY80" fmla="*/ 526124 h 2039827"/>
              <a:gd name="connsiteX81" fmla="*/ 1872048 w 2168610"/>
              <a:gd name="connsiteY81" fmla="*/ 470519 h 2039827"/>
              <a:gd name="connsiteX82" fmla="*/ 1834978 w 2168610"/>
              <a:gd name="connsiteY82" fmla="*/ 470519 h 2039827"/>
              <a:gd name="connsiteX83" fmla="*/ 1767016 w 2168610"/>
              <a:gd name="connsiteY83" fmla="*/ 464340 h 2039827"/>
              <a:gd name="connsiteX84" fmla="*/ 1692875 w 2168610"/>
              <a:gd name="connsiteY84" fmla="*/ 519946 h 2039827"/>
              <a:gd name="connsiteX85" fmla="*/ 1631092 w 2168610"/>
              <a:gd name="connsiteY85" fmla="*/ 489054 h 2039827"/>
              <a:gd name="connsiteX86" fmla="*/ 1594021 w 2168610"/>
              <a:gd name="connsiteY86" fmla="*/ 501411 h 2039827"/>
              <a:gd name="connsiteX87" fmla="*/ 1594021 w 2168610"/>
              <a:gd name="connsiteY87" fmla="*/ 501411 h 2039827"/>
              <a:gd name="connsiteX88" fmla="*/ 1519881 w 2168610"/>
              <a:gd name="connsiteY88" fmla="*/ 495232 h 2039827"/>
              <a:gd name="connsiteX89" fmla="*/ 1488989 w 2168610"/>
              <a:gd name="connsiteY89" fmla="*/ 470519 h 2039827"/>
              <a:gd name="connsiteX90" fmla="*/ 1439562 w 2168610"/>
              <a:gd name="connsiteY90" fmla="*/ 489054 h 2039827"/>
              <a:gd name="connsiteX91" fmla="*/ 1353065 w 2168610"/>
              <a:gd name="connsiteY91" fmla="*/ 445805 h 2039827"/>
              <a:gd name="connsiteX92" fmla="*/ 1291281 w 2168610"/>
              <a:gd name="connsiteY92" fmla="*/ 451984 h 2039827"/>
              <a:gd name="connsiteX93" fmla="*/ 1260389 w 2168610"/>
              <a:gd name="connsiteY93" fmla="*/ 439627 h 2039827"/>
              <a:gd name="connsiteX94" fmla="*/ 1235675 w 2168610"/>
              <a:gd name="connsiteY94" fmla="*/ 439627 h 2039827"/>
              <a:gd name="connsiteX95" fmla="*/ 1210962 w 2168610"/>
              <a:gd name="connsiteY95" fmla="*/ 396378 h 2039827"/>
              <a:gd name="connsiteX96" fmla="*/ 1144010 w 2168610"/>
              <a:gd name="connsiteY96" fmla="*/ 390478 h 2039827"/>
              <a:gd name="connsiteX97" fmla="*/ 1105929 w 2168610"/>
              <a:gd name="connsiteY97" fmla="*/ 371665 h 2039827"/>
              <a:gd name="connsiteX98" fmla="*/ 1087394 w 2168610"/>
              <a:gd name="connsiteY98" fmla="*/ 371665 h 2039827"/>
              <a:gd name="connsiteX99" fmla="*/ 1075037 w 2168610"/>
              <a:gd name="connsiteY99" fmla="*/ 359308 h 2039827"/>
              <a:gd name="connsiteX100" fmla="*/ 1062681 w 2168610"/>
              <a:gd name="connsiteY100" fmla="*/ 353130 h 2039827"/>
              <a:gd name="connsiteX101" fmla="*/ 1068450 w 2168610"/>
              <a:gd name="connsiteY101" fmla="*/ 10936 h 2039827"/>
              <a:gd name="connsiteX102" fmla="*/ 598898 w 2168610"/>
              <a:gd name="connsiteY102" fmla="*/ 0 h 2039827"/>
              <a:gd name="connsiteX0" fmla="*/ 598898 w 2168610"/>
              <a:gd name="connsiteY0" fmla="*/ 0 h 2039827"/>
              <a:gd name="connsiteX1" fmla="*/ 580767 w 2168610"/>
              <a:gd name="connsiteY1" fmla="*/ 872113 h 2039827"/>
              <a:gd name="connsiteX2" fmla="*/ 6178 w 2168610"/>
              <a:gd name="connsiteY2" fmla="*/ 853578 h 2039827"/>
              <a:gd name="connsiteX3" fmla="*/ 0 w 2168610"/>
              <a:gd name="connsiteY3" fmla="*/ 890649 h 2039827"/>
              <a:gd name="connsiteX4" fmla="*/ 49427 w 2168610"/>
              <a:gd name="connsiteY4" fmla="*/ 921540 h 2039827"/>
              <a:gd name="connsiteX5" fmla="*/ 105032 w 2168610"/>
              <a:gd name="connsiteY5" fmla="*/ 989503 h 2039827"/>
              <a:gd name="connsiteX6" fmla="*/ 154459 w 2168610"/>
              <a:gd name="connsiteY6" fmla="*/ 1063643 h 2039827"/>
              <a:gd name="connsiteX7" fmla="*/ 203886 w 2168610"/>
              <a:gd name="connsiteY7" fmla="*/ 1076000 h 2039827"/>
              <a:gd name="connsiteX8" fmla="*/ 240956 w 2168610"/>
              <a:gd name="connsiteY8" fmla="*/ 1125427 h 2039827"/>
              <a:gd name="connsiteX9" fmla="*/ 271848 w 2168610"/>
              <a:gd name="connsiteY9" fmla="*/ 1174854 h 2039827"/>
              <a:gd name="connsiteX10" fmla="*/ 296562 w 2168610"/>
              <a:gd name="connsiteY10" fmla="*/ 1230459 h 2039827"/>
              <a:gd name="connsiteX11" fmla="*/ 308919 w 2168610"/>
              <a:gd name="connsiteY11" fmla="*/ 1304600 h 2039827"/>
              <a:gd name="connsiteX12" fmla="*/ 327454 w 2168610"/>
              <a:gd name="connsiteY12" fmla="*/ 1329313 h 2039827"/>
              <a:gd name="connsiteX13" fmla="*/ 432486 w 2168610"/>
              <a:gd name="connsiteY13" fmla="*/ 1409632 h 2039827"/>
              <a:gd name="connsiteX14" fmla="*/ 438665 w 2168610"/>
              <a:gd name="connsiteY14" fmla="*/ 1384919 h 2039827"/>
              <a:gd name="connsiteX15" fmla="*/ 574589 w 2168610"/>
              <a:gd name="connsiteY15" fmla="*/ 1452881 h 2039827"/>
              <a:gd name="connsiteX16" fmla="*/ 574589 w 2168610"/>
              <a:gd name="connsiteY16" fmla="*/ 1452881 h 2039827"/>
              <a:gd name="connsiteX17" fmla="*/ 605481 w 2168610"/>
              <a:gd name="connsiteY17" fmla="*/ 1397276 h 2039827"/>
              <a:gd name="connsiteX18" fmla="*/ 661086 w 2168610"/>
              <a:gd name="connsiteY18" fmla="*/ 1329313 h 2039827"/>
              <a:gd name="connsiteX19" fmla="*/ 729048 w 2168610"/>
              <a:gd name="connsiteY19" fmla="*/ 1310778 h 2039827"/>
              <a:gd name="connsiteX20" fmla="*/ 821724 w 2168610"/>
              <a:gd name="connsiteY20" fmla="*/ 1323135 h 2039827"/>
              <a:gd name="connsiteX21" fmla="*/ 902043 w 2168610"/>
              <a:gd name="connsiteY21" fmla="*/ 1384919 h 2039827"/>
              <a:gd name="connsiteX22" fmla="*/ 957648 w 2168610"/>
              <a:gd name="connsiteY22" fmla="*/ 1465238 h 2039827"/>
              <a:gd name="connsiteX23" fmla="*/ 1013254 w 2168610"/>
              <a:gd name="connsiteY23" fmla="*/ 1545557 h 2039827"/>
              <a:gd name="connsiteX24" fmla="*/ 1062681 w 2168610"/>
              <a:gd name="connsiteY24" fmla="*/ 1632054 h 2039827"/>
              <a:gd name="connsiteX25" fmla="*/ 1118286 w 2168610"/>
              <a:gd name="connsiteY25" fmla="*/ 1700016 h 2039827"/>
              <a:gd name="connsiteX26" fmla="*/ 1167713 w 2168610"/>
              <a:gd name="connsiteY26" fmla="*/ 1737086 h 2039827"/>
              <a:gd name="connsiteX27" fmla="*/ 1198605 w 2168610"/>
              <a:gd name="connsiteY27" fmla="*/ 1817405 h 2039827"/>
              <a:gd name="connsiteX28" fmla="*/ 1223319 w 2168610"/>
              <a:gd name="connsiteY28" fmla="*/ 1879189 h 2039827"/>
              <a:gd name="connsiteX29" fmla="*/ 1248032 w 2168610"/>
              <a:gd name="connsiteY29" fmla="*/ 1940973 h 2039827"/>
              <a:gd name="connsiteX30" fmla="*/ 1278924 w 2168610"/>
              <a:gd name="connsiteY30" fmla="*/ 1984222 h 2039827"/>
              <a:gd name="connsiteX31" fmla="*/ 1340708 w 2168610"/>
              <a:gd name="connsiteY31" fmla="*/ 2008935 h 2039827"/>
              <a:gd name="connsiteX32" fmla="*/ 1439562 w 2168610"/>
              <a:gd name="connsiteY32" fmla="*/ 2027470 h 2039827"/>
              <a:gd name="connsiteX33" fmla="*/ 1513702 w 2168610"/>
              <a:gd name="connsiteY33" fmla="*/ 2039827 h 2039827"/>
              <a:gd name="connsiteX34" fmla="*/ 1606378 w 2168610"/>
              <a:gd name="connsiteY34" fmla="*/ 2039827 h 2039827"/>
              <a:gd name="connsiteX35" fmla="*/ 1587843 w 2168610"/>
              <a:gd name="connsiteY35" fmla="*/ 2027470 h 2039827"/>
              <a:gd name="connsiteX36" fmla="*/ 1587843 w 2168610"/>
              <a:gd name="connsiteY36" fmla="*/ 2027470 h 2039827"/>
              <a:gd name="connsiteX37" fmla="*/ 1575486 w 2168610"/>
              <a:gd name="connsiteY37" fmla="*/ 1959508 h 2039827"/>
              <a:gd name="connsiteX38" fmla="*/ 1550773 w 2168610"/>
              <a:gd name="connsiteY38" fmla="*/ 1928616 h 2039827"/>
              <a:gd name="connsiteX39" fmla="*/ 1544594 w 2168610"/>
              <a:gd name="connsiteY39" fmla="*/ 1891546 h 2039827"/>
              <a:gd name="connsiteX40" fmla="*/ 1526059 w 2168610"/>
              <a:gd name="connsiteY40" fmla="*/ 1848297 h 2039827"/>
              <a:gd name="connsiteX41" fmla="*/ 1538416 w 2168610"/>
              <a:gd name="connsiteY41" fmla="*/ 1817405 h 2039827"/>
              <a:gd name="connsiteX42" fmla="*/ 1532237 w 2168610"/>
              <a:gd name="connsiteY42" fmla="*/ 1798870 h 2039827"/>
              <a:gd name="connsiteX43" fmla="*/ 1488989 w 2168610"/>
              <a:gd name="connsiteY43" fmla="*/ 1774157 h 2039827"/>
              <a:gd name="connsiteX44" fmla="*/ 1538416 w 2168610"/>
              <a:gd name="connsiteY44" fmla="*/ 1743265 h 2039827"/>
              <a:gd name="connsiteX45" fmla="*/ 1544594 w 2168610"/>
              <a:gd name="connsiteY45" fmla="*/ 1730908 h 2039827"/>
              <a:gd name="connsiteX46" fmla="*/ 1550773 w 2168610"/>
              <a:gd name="connsiteY46" fmla="*/ 1700016 h 2039827"/>
              <a:gd name="connsiteX47" fmla="*/ 1526059 w 2168610"/>
              <a:gd name="connsiteY47" fmla="*/ 1669124 h 2039827"/>
              <a:gd name="connsiteX48" fmla="*/ 1550773 w 2168610"/>
              <a:gd name="connsiteY48" fmla="*/ 1669124 h 2039827"/>
              <a:gd name="connsiteX49" fmla="*/ 1575486 w 2168610"/>
              <a:gd name="connsiteY49" fmla="*/ 1650589 h 2039827"/>
              <a:gd name="connsiteX50" fmla="*/ 1550773 w 2168610"/>
              <a:gd name="connsiteY50" fmla="*/ 1594984 h 2039827"/>
              <a:gd name="connsiteX51" fmla="*/ 1550773 w 2168610"/>
              <a:gd name="connsiteY51" fmla="*/ 1594984 h 2039827"/>
              <a:gd name="connsiteX52" fmla="*/ 1618735 w 2168610"/>
              <a:gd name="connsiteY52" fmla="*/ 1594984 h 2039827"/>
              <a:gd name="connsiteX53" fmla="*/ 1631092 w 2168610"/>
              <a:gd name="connsiteY53" fmla="*/ 1582627 h 2039827"/>
              <a:gd name="connsiteX54" fmla="*/ 1649627 w 2168610"/>
              <a:gd name="connsiteY54" fmla="*/ 1533200 h 2039827"/>
              <a:gd name="connsiteX55" fmla="*/ 1686697 w 2168610"/>
              <a:gd name="connsiteY55" fmla="*/ 1533200 h 2039827"/>
              <a:gd name="connsiteX56" fmla="*/ 1705232 w 2168610"/>
              <a:gd name="connsiteY56" fmla="*/ 1533200 h 2039827"/>
              <a:gd name="connsiteX57" fmla="*/ 1705232 w 2168610"/>
              <a:gd name="connsiteY57" fmla="*/ 1502308 h 2039827"/>
              <a:gd name="connsiteX58" fmla="*/ 1699054 w 2168610"/>
              <a:gd name="connsiteY58" fmla="*/ 1483773 h 2039827"/>
              <a:gd name="connsiteX59" fmla="*/ 1699054 w 2168610"/>
              <a:gd name="connsiteY59" fmla="*/ 1483773 h 2039827"/>
              <a:gd name="connsiteX60" fmla="*/ 1773194 w 2168610"/>
              <a:gd name="connsiteY60" fmla="*/ 1489951 h 2039827"/>
              <a:gd name="connsiteX61" fmla="*/ 1834978 w 2168610"/>
              <a:gd name="connsiteY61" fmla="*/ 1477595 h 2039827"/>
              <a:gd name="connsiteX62" fmla="*/ 1896762 w 2168610"/>
              <a:gd name="connsiteY62" fmla="*/ 1421989 h 2039827"/>
              <a:gd name="connsiteX63" fmla="*/ 1896762 w 2168610"/>
              <a:gd name="connsiteY63" fmla="*/ 1378740 h 2039827"/>
              <a:gd name="connsiteX64" fmla="*/ 1946189 w 2168610"/>
              <a:gd name="connsiteY64" fmla="*/ 1347849 h 2039827"/>
              <a:gd name="connsiteX65" fmla="*/ 1940010 w 2168610"/>
              <a:gd name="connsiteY65" fmla="*/ 1286065 h 2039827"/>
              <a:gd name="connsiteX66" fmla="*/ 1983259 w 2168610"/>
              <a:gd name="connsiteY66" fmla="*/ 1267530 h 2039827"/>
              <a:gd name="connsiteX67" fmla="*/ 2007973 w 2168610"/>
              <a:gd name="connsiteY67" fmla="*/ 1329313 h 2039827"/>
              <a:gd name="connsiteX68" fmla="*/ 2143897 w 2168610"/>
              <a:gd name="connsiteY68" fmla="*/ 1255173 h 2039827"/>
              <a:gd name="connsiteX69" fmla="*/ 2156254 w 2168610"/>
              <a:gd name="connsiteY69" fmla="*/ 1168676 h 2039827"/>
              <a:gd name="connsiteX70" fmla="*/ 2143897 w 2168610"/>
              <a:gd name="connsiteY70" fmla="*/ 1131605 h 2039827"/>
              <a:gd name="connsiteX71" fmla="*/ 2137719 w 2168610"/>
              <a:gd name="connsiteY71" fmla="*/ 1094535 h 2039827"/>
              <a:gd name="connsiteX72" fmla="*/ 2150075 w 2168610"/>
              <a:gd name="connsiteY72" fmla="*/ 1051286 h 2039827"/>
              <a:gd name="connsiteX73" fmla="*/ 2168610 w 2168610"/>
              <a:gd name="connsiteY73" fmla="*/ 1014216 h 2039827"/>
              <a:gd name="connsiteX74" fmla="*/ 2131540 w 2168610"/>
              <a:gd name="connsiteY74" fmla="*/ 903005 h 2039827"/>
              <a:gd name="connsiteX75" fmla="*/ 2100648 w 2168610"/>
              <a:gd name="connsiteY75" fmla="*/ 872113 h 2039827"/>
              <a:gd name="connsiteX76" fmla="*/ 2075935 w 2168610"/>
              <a:gd name="connsiteY76" fmla="*/ 791795 h 2039827"/>
              <a:gd name="connsiteX77" fmla="*/ 2063578 w 2168610"/>
              <a:gd name="connsiteY77" fmla="*/ 618800 h 2039827"/>
              <a:gd name="connsiteX78" fmla="*/ 2051221 w 2168610"/>
              <a:gd name="connsiteY78" fmla="*/ 519946 h 2039827"/>
              <a:gd name="connsiteX79" fmla="*/ 2032686 w 2168610"/>
              <a:gd name="connsiteY79" fmla="*/ 501411 h 2039827"/>
              <a:gd name="connsiteX80" fmla="*/ 1983259 w 2168610"/>
              <a:gd name="connsiteY80" fmla="*/ 526124 h 2039827"/>
              <a:gd name="connsiteX81" fmla="*/ 1872048 w 2168610"/>
              <a:gd name="connsiteY81" fmla="*/ 470519 h 2039827"/>
              <a:gd name="connsiteX82" fmla="*/ 1834978 w 2168610"/>
              <a:gd name="connsiteY82" fmla="*/ 470519 h 2039827"/>
              <a:gd name="connsiteX83" fmla="*/ 1767016 w 2168610"/>
              <a:gd name="connsiteY83" fmla="*/ 464340 h 2039827"/>
              <a:gd name="connsiteX84" fmla="*/ 1692875 w 2168610"/>
              <a:gd name="connsiteY84" fmla="*/ 519946 h 2039827"/>
              <a:gd name="connsiteX85" fmla="*/ 1631092 w 2168610"/>
              <a:gd name="connsiteY85" fmla="*/ 489054 h 2039827"/>
              <a:gd name="connsiteX86" fmla="*/ 1594021 w 2168610"/>
              <a:gd name="connsiteY86" fmla="*/ 501411 h 2039827"/>
              <a:gd name="connsiteX87" fmla="*/ 1594083 w 2168610"/>
              <a:gd name="connsiteY87" fmla="*/ 489288 h 2039827"/>
              <a:gd name="connsiteX88" fmla="*/ 1519881 w 2168610"/>
              <a:gd name="connsiteY88" fmla="*/ 495232 h 2039827"/>
              <a:gd name="connsiteX89" fmla="*/ 1488989 w 2168610"/>
              <a:gd name="connsiteY89" fmla="*/ 470519 h 2039827"/>
              <a:gd name="connsiteX90" fmla="*/ 1439562 w 2168610"/>
              <a:gd name="connsiteY90" fmla="*/ 489054 h 2039827"/>
              <a:gd name="connsiteX91" fmla="*/ 1353065 w 2168610"/>
              <a:gd name="connsiteY91" fmla="*/ 445805 h 2039827"/>
              <a:gd name="connsiteX92" fmla="*/ 1291281 w 2168610"/>
              <a:gd name="connsiteY92" fmla="*/ 451984 h 2039827"/>
              <a:gd name="connsiteX93" fmla="*/ 1260389 w 2168610"/>
              <a:gd name="connsiteY93" fmla="*/ 439627 h 2039827"/>
              <a:gd name="connsiteX94" fmla="*/ 1235675 w 2168610"/>
              <a:gd name="connsiteY94" fmla="*/ 439627 h 2039827"/>
              <a:gd name="connsiteX95" fmla="*/ 1210962 w 2168610"/>
              <a:gd name="connsiteY95" fmla="*/ 396378 h 2039827"/>
              <a:gd name="connsiteX96" fmla="*/ 1144010 w 2168610"/>
              <a:gd name="connsiteY96" fmla="*/ 390478 h 2039827"/>
              <a:gd name="connsiteX97" fmla="*/ 1105929 w 2168610"/>
              <a:gd name="connsiteY97" fmla="*/ 371665 h 2039827"/>
              <a:gd name="connsiteX98" fmla="*/ 1087394 w 2168610"/>
              <a:gd name="connsiteY98" fmla="*/ 371665 h 2039827"/>
              <a:gd name="connsiteX99" fmla="*/ 1075037 w 2168610"/>
              <a:gd name="connsiteY99" fmla="*/ 359308 h 2039827"/>
              <a:gd name="connsiteX100" fmla="*/ 1062681 w 2168610"/>
              <a:gd name="connsiteY100" fmla="*/ 353130 h 2039827"/>
              <a:gd name="connsiteX101" fmla="*/ 1068450 w 2168610"/>
              <a:gd name="connsiteY101" fmla="*/ 10936 h 2039827"/>
              <a:gd name="connsiteX102" fmla="*/ 598898 w 2168610"/>
              <a:gd name="connsiteY102" fmla="*/ 0 h 2039827"/>
              <a:gd name="connsiteX0" fmla="*/ 598898 w 2168610"/>
              <a:gd name="connsiteY0" fmla="*/ 0 h 2039827"/>
              <a:gd name="connsiteX1" fmla="*/ 580767 w 2168610"/>
              <a:gd name="connsiteY1" fmla="*/ 872113 h 2039827"/>
              <a:gd name="connsiteX2" fmla="*/ 6178 w 2168610"/>
              <a:gd name="connsiteY2" fmla="*/ 853578 h 2039827"/>
              <a:gd name="connsiteX3" fmla="*/ 0 w 2168610"/>
              <a:gd name="connsiteY3" fmla="*/ 890649 h 2039827"/>
              <a:gd name="connsiteX4" fmla="*/ 49427 w 2168610"/>
              <a:gd name="connsiteY4" fmla="*/ 921540 h 2039827"/>
              <a:gd name="connsiteX5" fmla="*/ 105032 w 2168610"/>
              <a:gd name="connsiteY5" fmla="*/ 989503 h 2039827"/>
              <a:gd name="connsiteX6" fmla="*/ 154459 w 2168610"/>
              <a:gd name="connsiteY6" fmla="*/ 1063643 h 2039827"/>
              <a:gd name="connsiteX7" fmla="*/ 203886 w 2168610"/>
              <a:gd name="connsiteY7" fmla="*/ 1076000 h 2039827"/>
              <a:gd name="connsiteX8" fmla="*/ 240956 w 2168610"/>
              <a:gd name="connsiteY8" fmla="*/ 1125427 h 2039827"/>
              <a:gd name="connsiteX9" fmla="*/ 271848 w 2168610"/>
              <a:gd name="connsiteY9" fmla="*/ 1174854 h 2039827"/>
              <a:gd name="connsiteX10" fmla="*/ 296562 w 2168610"/>
              <a:gd name="connsiteY10" fmla="*/ 1230459 h 2039827"/>
              <a:gd name="connsiteX11" fmla="*/ 308919 w 2168610"/>
              <a:gd name="connsiteY11" fmla="*/ 1304600 h 2039827"/>
              <a:gd name="connsiteX12" fmla="*/ 327454 w 2168610"/>
              <a:gd name="connsiteY12" fmla="*/ 1329313 h 2039827"/>
              <a:gd name="connsiteX13" fmla="*/ 432486 w 2168610"/>
              <a:gd name="connsiteY13" fmla="*/ 1409632 h 2039827"/>
              <a:gd name="connsiteX14" fmla="*/ 438665 w 2168610"/>
              <a:gd name="connsiteY14" fmla="*/ 1384919 h 2039827"/>
              <a:gd name="connsiteX15" fmla="*/ 574589 w 2168610"/>
              <a:gd name="connsiteY15" fmla="*/ 1452881 h 2039827"/>
              <a:gd name="connsiteX16" fmla="*/ 574589 w 2168610"/>
              <a:gd name="connsiteY16" fmla="*/ 1452881 h 2039827"/>
              <a:gd name="connsiteX17" fmla="*/ 605481 w 2168610"/>
              <a:gd name="connsiteY17" fmla="*/ 1397276 h 2039827"/>
              <a:gd name="connsiteX18" fmla="*/ 661086 w 2168610"/>
              <a:gd name="connsiteY18" fmla="*/ 1329313 h 2039827"/>
              <a:gd name="connsiteX19" fmla="*/ 729048 w 2168610"/>
              <a:gd name="connsiteY19" fmla="*/ 1310778 h 2039827"/>
              <a:gd name="connsiteX20" fmla="*/ 821724 w 2168610"/>
              <a:gd name="connsiteY20" fmla="*/ 1323135 h 2039827"/>
              <a:gd name="connsiteX21" fmla="*/ 902043 w 2168610"/>
              <a:gd name="connsiteY21" fmla="*/ 1384919 h 2039827"/>
              <a:gd name="connsiteX22" fmla="*/ 957648 w 2168610"/>
              <a:gd name="connsiteY22" fmla="*/ 1465238 h 2039827"/>
              <a:gd name="connsiteX23" fmla="*/ 1013254 w 2168610"/>
              <a:gd name="connsiteY23" fmla="*/ 1545557 h 2039827"/>
              <a:gd name="connsiteX24" fmla="*/ 1062681 w 2168610"/>
              <a:gd name="connsiteY24" fmla="*/ 1632054 h 2039827"/>
              <a:gd name="connsiteX25" fmla="*/ 1118286 w 2168610"/>
              <a:gd name="connsiteY25" fmla="*/ 1700016 h 2039827"/>
              <a:gd name="connsiteX26" fmla="*/ 1167713 w 2168610"/>
              <a:gd name="connsiteY26" fmla="*/ 1737086 h 2039827"/>
              <a:gd name="connsiteX27" fmla="*/ 1198605 w 2168610"/>
              <a:gd name="connsiteY27" fmla="*/ 1817405 h 2039827"/>
              <a:gd name="connsiteX28" fmla="*/ 1223319 w 2168610"/>
              <a:gd name="connsiteY28" fmla="*/ 1879189 h 2039827"/>
              <a:gd name="connsiteX29" fmla="*/ 1248032 w 2168610"/>
              <a:gd name="connsiteY29" fmla="*/ 1940973 h 2039827"/>
              <a:gd name="connsiteX30" fmla="*/ 1278924 w 2168610"/>
              <a:gd name="connsiteY30" fmla="*/ 1984222 h 2039827"/>
              <a:gd name="connsiteX31" fmla="*/ 1340708 w 2168610"/>
              <a:gd name="connsiteY31" fmla="*/ 2008935 h 2039827"/>
              <a:gd name="connsiteX32" fmla="*/ 1439562 w 2168610"/>
              <a:gd name="connsiteY32" fmla="*/ 2027470 h 2039827"/>
              <a:gd name="connsiteX33" fmla="*/ 1513702 w 2168610"/>
              <a:gd name="connsiteY33" fmla="*/ 2039827 h 2039827"/>
              <a:gd name="connsiteX34" fmla="*/ 1606378 w 2168610"/>
              <a:gd name="connsiteY34" fmla="*/ 2039827 h 2039827"/>
              <a:gd name="connsiteX35" fmla="*/ 1587843 w 2168610"/>
              <a:gd name="connsiteY35" fmla="*/ 2027470 h 2039827"/>
              <a:gd name="connsiteX36" fmla="*/ 1587843 w 2168610"/>
              <a:gd name="connsiteY36" fmla="*/ 2027470 h 2039827"/>
              <a:gd name="connsiteX37" fmla="*/ 1575486 w 2168610"/>
              <a:gd name="connsiteY37" fmla="*/ 1959508 h 2039827"/>
              <a:gd name="connsiteX38" fmla="*/ 1550773 w 2168610"/>
              <a:gd name="connsiteY38" fmla="*/ 1928616 h 2039827"/>
              <a:gd name="connsiteX39" fmla="*/ 1544594 w 2168610"/>
              <a:gd name="connsiteY39" fmla="*/ 1891546 h 2039827"/>
              <a:gd name="connsiteX40" fmla="*/ 1526059 w 2168610"/>
              <a:gd name="connsiteY40" fmla="*/ 1848297 h 2039827"/>
              <a:gd name="connsiteX41" fmla="*/ 1538416 w 2168610"/>
              <a:gd name="connsiteY41" fmla="*/ 1817405 h 2039827"/>
              <a:gd name="connsiteX42" fmla="*/ 1532237 w 2168610"/>
              <a:gd name="connsiteY42" fmla="*/ 1798870 h 2039827"/>
              <a:gd name="connsiteX43" fmla="*/ 1488989 w 2168610"/>
              <a:gd name="connsiteY43" fmla="*/ 1774157 h 2039827"/>
              <a:gd name="connsiteX44" fmla="*/ 1538416 w 2168610"/>
              <a:gd name="connsiteY44" fmla="*/ 1743265 h 2039827"/>
              <a:gd name="connsiteX45" fmla="*/ 1544594 w 2168610"/>
              <a:gd name="connsiteY45" fmla="*/ 1730908 h 2039827"/>
              <a:gd name="connsiteX46" fmla="*/ 1550773 w 2168610"/>
              <a:gd name="connsiteY46" fmla="*/ 1700016 h 2039827"/>
              <a:gd name="connsiteX47" fmla="*/ 1526059 w 2168610"/>
              <a:gd name="connsiteY47" fmla="*/ 1669124 h 2039827"/>
              <a:gd name="connsiteX48" fmla="*/ 1550773 w 2168610"/>
              <a:gd name="connsiteY48" fmla="*/ 1669124 h 2039827"/>
              <a:gd name="connsiteX49" fmla="*/ 1575486 w 2168610"/>
              <a:gd name="connsiteY49" fmla="*/ 1650589 h 2039827"/>
              <a:gd name="connsiteX50" fmla="*/ 1550773 w 2168610"/>
              <a:gd name="connsiteY50" fmla="*/ 1594984 h 2039827"/>
              <a:gd name="connsiteX51" fmla="*/ 1550773 w 2168610"/>
              <a:gd name="connsiteY51" fmla="*/ 1594984 h 2039827"/>
              <a:gd name="connsiteX52" fmla="*/ 1618735 w 2168610"/>
              <a:gd name="connsiteY52" fmla="*/ 1594984 h 2039827"/>
              <a:gd name="connsiteX53" fmla="*/ 1631092 w 2168610"/>
              <a:gd name="connsiteY53" fmla="*/ 1582627 h 2039827"/>
              <a:gd name="connsiteX54" fmla="*/ 1649627 w 2168610"/>
              <a:gd name="connsiteY54" fmla="*/ 1533200 h 2039827"/>
              <a:gd name="connsiteX55" fmla="*/ 1686697 w 2168610"/>
              <a:gd name="connsiteY55" fmla="*/ 1533200 h 2039827"/>
              <a:gd name="connsiteX56" fmla="*/ 1705232 w 2168610"/>
              <a:gd name="connsiteY56" fmla="*/ 1533200 h 2039827"/>
              <a:gd name="connsiteX57" fmla="*/ 1705232 w 2168610"/>
              <a:gd name="connsiteY57" fmla="*/ 1502308 h 2039827"/>
              <a:gd name="connsiteX58" fmla="*/ 1699054 w 2168610"/>
              <a:gd name="connsiteY58" fmla="*/ 1483773 h 2039827"/>
              <a:gd name="connsiteX59" fmla="*/ 1699054 w 2168610"/>
              <a:gd name="connsiteY59" fmla="*/ 1483773 h 2039827"/>
              <a:gd name="connsiteX60" fmla="*/ 1773194 w 2168610"/>
              <a:gd name="connsiteY60" fmla="*/ 1489951 h 2039827"/>
              <a:gd name="connsiteX61" fmla="*/ 1834978 w 2168610"/>
              <a:gd name="connsiteY61" fmla="*/ 1477595 h 2039827"/>
              <a:gd name="connsiteX62" fmla="*/ 1896762 w 2168610"/>
              <a:gd name="connsiteY62" fmla="*/ 1421989 h 2039827"/>
              <a:gd name="connsiteX63" fmla="*/ 1896762 w 2168610"/>
              <a:gd name="connsiteY63" fmla="*/ 1378740 h 2039827"/>
              <a:gd name="connsiteX64" fmla="*/ 1946189 w 2168610"/>
              <a:gd name="connsiteY64" fmla="*/ 1347849 h 2039827"/>
              <a:gd name="connsiteX65" fmla="*/ 1940010 w 2168610"/>
              <a:gd name="connsiteY65" fmla="*/ 1286065 h 2039827"/>
              <a:gd name="connsiteX66" fmla="*/ 1983259 w 2168610"/>
              <a:gd name="connsiteY66" fmla="*/ 1267530 h 2039827"/>
              <a:gd name="connsiteX67" fmla="*/ 2007973 w 2168610"/>
              <a:gd name="connsiteY67" fmla="*/ 1329313 h 2039827"/>
              <a:gd name="connsiteX68" fmla="*/ 2143897 w 2168610"/>
              <a:gd name="connsiteY68" fmla="*/ 1255173 h 2039827"/>
              <a:gd name="connsiteX69" fmla="*/ 2156254 w 2168610"/>
              <a:gd name="connsiteY69" fmla="*/ 1168676 h 2039827"/>
              <a:gd name="connsiteX70" fmla="*/ 2143897 w 2168610"/>
              <a:gd name="connsiteY70" fmla="*/ 1131605 h 2039827"/>
              <a:gd name="connsiteX71" fmla="*/ 2137719 w 2168610"/>
              <a:gd name="connsiteY71" fmla="*/ 1094535 h 2039827"/>
              <a:gd name="connsiteX72" fmla="*/ 2150075 w 2168610"/>
              <a:gd name="connsiteY72" fmla="*/ 1051286 h 2039827"/>
              <a:gd name="connsiteX73" fmla="*/ 2168610 w 2168610"/>
              <a:gd name="connsiteY73" fmla="*/ 1014216 h 2039827"/>
              <a:gd name="connsiteX74" fmla="*/ 2131540 w 2168610"/>
              <a:gd name="connsiteY74" fmla="*/ 903005 h 2039827"/>
              <a:gd name="connsiteX75" fmla="*/ 2100648 w 2168610"/>
              <a:gd name="connsiteY75" fmla="*/ 872113 h 2039827"/>
              <a:gd name="connsiteX76" fmla="*/ 2075935 w 2168610"/>
              <a:gd name="connsiteY76" fmla="*/ 791795 h 2039827"/>
              <a:gd name="connsiteX77" fmla="*/ 2063578 w 2168610"/>
              <a:gd name="connsiteY77" fmla="*/ 618800 h 2039827"/>
              <a:gd name="connsiteX78" fmla="*/ 2051221 w 2168610"/>
              <a:gd name="connsiteY78" fmla="*/ 519946 h 2039827"/>
              <a:gd name="connsiteX79" fmla="*/ 2032686 w 2168610"/>
              <a:gd name="connsiteY79" fmla="*/ 501411 h 2039827"/>
              <a:gd name="connsiteX80" fmla="*/ 1983259 w 2168610"/>
              <a:gd name="connsiteY80" fmla="*/ 526124 h 2039827"/>
              <a:gd name="connsiteX81" fmla="*/ 1872048 w 2168610"/>
              <a:gd name="connsiteY81" fmla="*/ 470519 h 2039827"/>
              <a:gd name="connsiteX82" fmla="*/ 1834978 w 2168610"/>
              <a:gd name="connsiteY82" fmla="*/ 470519 h 2039827"/>
              <a:gd name="connsiteX83" fmla="*/ 1767016 w 2168610"/>
              <a:gd name="connsiteY83" fmla="*/ 464340 h 2039827"/>
              <a:gd name="connsiteX84" fmla="*/ 1692875 w 2168610"/>
              <a:gd name="connsiteY84" fmla="*/ 519946 h 2039827"/>
              <a:gd name="connsiteX85" fmla="*/ 1631092 w 2168610"/>
              <a:gd name="connsiteY85" fmla="*/ 489054 h 2039827"/>
              <a:gd name="connsiteX86" fmla="*/ 1594021 w 2168610"/>
              <a:gd name="connsiteY86" fmla="*/ 501411 h 2039827"/>
              <a:gd name="connsiteX87" fmla="*/ 1594083 w 2168610"/>
              <a:gd name="connsiteY87" fmla="*/ 489288 h 2039827"/>
              <a:gd name="connsiteX88" fmla="*/ 1519881 w 2168610"/>
              <a:gd name="connsiteY88" fmla="*/ 495232 h 2039827"/>
              <a:gd name="connsiteX89" fmla="*/ 1488989 w 2168610"/>
              <a:gd name="connsiteY89" fmla="*/ 470519 h 2039827"/>
              <a:gd name="connsiteX90" fmla="*/ 1439562 w 2168610"/>
              <a:gd name="connsiteY90" fmla="*/ 489054 h 2039827"/>
              <a:gd name="connsiteX91" fmla="*/ 1362643 w 2168610"/>
              <a:gd name="connsiteY91" fmla="*/ 433707 h 2039827"/>
              <a:gd name="connsiteX92" fmla="*/ 1291281 w 2168610"/>
              <a:gd name="connsiteY92" fmla="*/ 451984 h 2039827"/>
              <a:gd name="connsiteX93" fmla="*/ 1260389 w 2168610"/>
              <a:gd name="connsiteY93" fmla="*/ 439627 h 2039827"/>
              <a:gd name="connsiteX94" fmla="*/ 1235675 w 2168610"/>
              <a:gd name="connsiteY94" fmla="*/ 439627 h 2039827"/>
              <a:gd name="connsiteX95" fmla="*/ 1210962 w 2168610"/>
              <a:gd name="connsiteY95" fmla="*/ 396378 h 2039827"/>
              <a:gd name="connsiteX96" fmla="*/ 1144010 w 2168610"/>
              <a:gd name="connsiteY96" fmla="*/ 390478 h 2039827"/>
              <a:gd name="connsiteX97" fmla="*/ 1105929 w 2168610"/>
              <a:gd name="connsiteY97" fmla="*/ 371665 h 2039827"/>
              <a:gd name="connsiteX98" fmla="*/ 1087394 w 2168610"/>
              <a:gd name="connsiteY98" fmla="*/ 371665 h 2039827"/>
              <a:gd name="connsiteX99" fmla="*/ 1075037 w 2168610"/>
              <a:gd name="connsiteY99" fmla="*/ 359308 h 2039827"/>
              <a:gd name="connsiteX100" fmla="*/ 1062681 w 2168610"/>
              <a:gd name="connsiteY100" fmla="*/ 353130 h 2039827"/>
              <a:gd name="connsiteX101" fmla="*/ 1068450 w 2168610"/>
              <a:gd name="connsiteY101" fmla="*/ 10936 h 2039827"/>
              <a:gd name="connsiteX102" fmla="*/ 598898 w 2168610"/>
              <a:gd name="connsiteY102" fmla="*/ 0 h 2039827"/>
              <a:gd name="connsiteX0" fmla="*/ 598898 w 2168610"/>
              <a:gd name="connsiteY0" fmla="*/ 0 h 2039827"/>
              <a:gd name="connsiteX1" fmla="*/ 580767 w 2168610"/>
              <a:gd name="connsiteY1" fmla="*/ 872113 h 2039827"/>
              <a:gd name="connsiteX2" fmla="*/ 6178 w 2168610"/>
              <a:gd name="connsiteY2" fmla="*/ 853578 h 2039827"/>
              <a:gd name="connsiteX3" fmla="*/ 0 w 2168610"/>
              <a:gd name="connsiteY3" fmla="*/ 890649 h 2039827"/>
              <a:gd name="connsiteX4" fmla="*/ 49427 w 2168610"/>
              <a:gd name="connsiteY4" fmla="*/ 921540 h 2039827"/>
              <a:gd name="connsiteX5" fmla="*/ 105032 w 2168610"/>
              <a:gd name="connsiteY5" fmla="*/ 989503 h 2039827"/>
              <a:gd name="connsiteX6" fmla="*/ 154459 w 2168610"/>
              <a:gd name="connsiteY6" fmla="*/ 1063643 h 2039827"/>
              <a:gd name="connsiteX7" fmla="*/ 203886 w 2168610"/>
              <a:gd name="connsiteY7" fmla="*/ 1076000 h 2039827"/>
              <a:gd name="connsiteX8" fmla="*/ 240956 w 2168610"/>
              <a:gd name="connsiteY8" fmla="*/ 1125427 h 2039827"/>
              <a:gd name="connsiteX9" fmla="*/ 271848 w 2168610"/>
              <a:gd name="connsiteY9" fmla="*/ 1174854 h 2039827"/>
              <a:gd name="connsiteX10" fmla="*/ 296562 w 2168610"/>
              <a:gd name="connsiteY10" fmla="*/ 1230459 h 2039827"/>
              <a:gd name="connsiteX11" fmla="*/ 308919 w 2168610"/>
              <a:gd name="connsiteY11" fmla="*/ 1304600 h 2039827"/>
              <a:gd name="connsiteX12" fmla="*/ 327454 w 2168610"/>
              <a:gd name="connsiteY12" fmla="*/ 1329313 h 2039827"/>
              <a:gd name="connsiteX13" fmla="*/ 432486 w 2168610"/>
              <a:gd name="connsiteY13" fmla="*/ 1409632 h 2039827"/>
              <a:gd name="connsiteX14" fmla="*/ 438665 w 2168610"/>
              <a:gd name="connsiteY14" fmla="*/ 1384919 h 2039827"/>
              <a:gd name="connsiteX15" fmla="*/ 574589 w 2168610"/>
              <a:gd name="connsiteY15" fmla="*/ 1452881 h 2039827"/>
              <a:gd name="connsiteX16" fmla="*/ 574589 w 2168610"/>
              <a:gd name="connsiteY16" fmla="*/ 1452881 h 2039827"/>
              <a:gd name="connsiteX17" fmla="*/ 605481 w 2168610"/>
              <a:gd name="connsiteY17" fmla="*/ 1397276 h 2039827"/>
              <a:gd name="connsiteX18" fmla="*/ 661086 w 2168610"/>
              <a:gd name="connsiteY18" fmla="*/ 1329313 h 2039827"/>
              <a:gd name="connsiteX19" fmla="*/ 729048 w 2168610"/>
              <a:gd name="connsiteY19" fmla="*/ 1310778 h 2039827"/>
              <a:gd name="connsiteX20" fmla="*/ 821724 w 2168610"/>
              <a:gd name="connsiteY20" fmla="*/ 1323135 h 2039827"/>
              <a:gd name="connsiteX21" fmla="*/ 902043 w 2168610"/>
              <a:gd name="connsiteY21" fmla="*/ 1384919 h 2039827"/>
              <a:gd name="connsiteX22" fmla="*/ 957648 w 2168610"/>
              <a:gd name="connsiteY22" fmla="*/ 1465238 h 2039827"/>
              <a:gd name="connsiteX23" fmla="*/ 1013254 w 2168610"/>
              <a:gd name="connsiteY23" fmla="*/ 1545557 h 2039827"/>
              <a:gd name="connsiteX24" fmla="*/ 1062681 w 2168610"/>
              <a:gd name="connsiteY24" fmla="*/ 1632054 h 2039827"/>
              <a:gd name="connsiteX25" fmla="*/ 1118286 w 2168610"/>
              <a:gd name="connsiteY25" fmla="*/ 1700016 h 2039827"/>
              <a:gd name="connsiteX26" fmla="*/ 1167713 w 2168610"/>
              <a:gd name="connsiteY26" fmla="*/ 1737086 h 2039827"/>
              <a:gd name="connsiteX27" fmla="*/ 1198605 w 2168610"/>
              <a:gd name="connsiteY27" fmla="*/ 1817405 h 2039827"/>
              <a:gd name="connsiteX28" fmla="*/ 1223319 w 2168610"/>
              <a:gd name="connsiteY28" fmla="*/ 1879189 h 2039827"/>
              <a:gd name="connsiteX29" fmla="*/ 1248032 w 2168610"/>
              <a:gd name="connsiteY29" fmla="*/ 1940973 h 2039827"/>
              <a:gd name="connsiteX30" fmla="*/ 1278924 w 2168610"/>
              <a:gd name="connsiteY30" fmla="*/ 1984222 h 2039827"/>
              <a:gd name="connsiteX31" fmla="*/ 1340708 w 2168610"/>
              <a:gd name="connsiteY31" fmla="*/ 2008935 h 2039827"/>
              <a:gd name="connsiteX32" fmla="*/ 1439562 w 2168610"/>
              <a:gd name="connsiteY32" fmla="*/ 2027470 h 2039827"/>
              <a:gd name="connsiteX33" fmla="*/ 1513702 w 2168610"/>
              <a:gd name="connsiteY33" fmla="*/ 2039827 h 2039827"/>
              <a:gd name="connsiteX34" fmla="*/ 1606378 w 2168610"/>
              <a:gd name="connsiteY34" fmla="*/ 2039827 h 2039827"/>
              <a:gd name="connsiteX35" fmla="*/ 1587843 w 2168610"/>
              <a:gd name="connsiteY35" fmla="*/ 2027470 h 2039827"/>
              <a:gd name="connsiteX36" fmla="*/ 1587843 w 2168610"/>
              <a:gd name="connsiteY36" fmla="*/ 2027470 h 2039827"/>
              <a:gd name="connsiteX37" fmla="*/ 1575486 w 2168610"/>
              <a:gd name="connsiteY37" fmla="*/ 1959508 h 2039827"/>
              <a:gd name="connsiteX38" fmla="*/ 1550773 w 2168610"/>
              <a:gd name="connsiteY38" fmla="*/ 1928616 h 2039827"/>
              <a:gd name="connsiteX39" fmla="*/ 1544594 w 2168610"/>
              <a:gd name="connsiteY39" fmla="*/ 1891546 h 2039827"/>
              <a:gd name="connsiteX40" fmla="*/ 1526059 w 2168610"/>
              <a:gd name="connsiteY40" fmla="*/ 1848297 h 2039827"/>
              <a:gd name="connsiteX41" fmla="*/ 1538416 w 2168610"/>
              <a:gd name="connsiteY41" fmla="*/ 1817405 h 2039827"/>
              <a:gd name="connsiteX42" fmla="*/ 1532237 w 2168610"/>
              <a:gd name="connsiteY42" fmla="*/ 1798870 h 2039827"/>
              <a:gd name="connsiteX43" fmla="*/ 1488989 w 2168610"/>
              <a:gd name="connsiteY43" fmla="*/ 1774157 h 2039827"/>
              <a:gd name="connsiteX44" fmla="*/ 1538416 w 2168610"/>
              <a:gd name="connsiteY44" fmla="*/ 1743265 h 2039827"/>
              <a:gd name="connsiteX45" fmla="*/ 1544594 w 2168610"/>
              <a:gd name="connsiteY45" fmla="*/ 1730908 h 2039827"/>
              <a:gd name="connsiteX46" fmla="*/ 1550773 w 2168610"/>
              <a:gd name="connsiteY46" fmla="*/ 1700016 h 2039827"/>
              <a:gd name="connsiteX47" fmla="*/ 1526059 w 2168610"/>
              <a:gd name="connsiteY47" fmla="*/ 1669124 h 2039827"/>
              <a:gd name="connsiteX48" fmla="*/ 1550773 w 2168610"/>
              <a:gd name="connsiteY48" fmla="*/ 1669124 h 2039827"/>
              <a:gd name="connsiteX49" fmla="*/ 1575486 w 2168610"/>
              <a:gd name="connsiteY49" fmla="*/ 1650589 h 2039827"/>
              <a:gd name="connsiteX50" fmla="*/ 1550773 w 2168610"/>
              <a:gd name="connsiteY50" fmla="*/ 1594984 h 2039827"/>
              <a:gd name="connsiteX51" fmla="*/ 1550773 w 2168610"/>
              <a:gd name="connsiteY51" fmla="*/ 1594984 h 2039827"/>
              <a:gd name="connsiteX52" fmla="*/ 1618735 w 2168610"/>
              <a:gd name="connsiteY52" fmla="*/ 1594984 h 2039827"/>
              <a:gd name="connsiteX53" fmla="*/ 1631092 w 2168610"/>
              <a:gd name="connsiteY53" fmla="*/ 1582627 h 2039827"/>
              <a:gd name="connsiteX54" fmla="*/ 1649627 w 2168610"/>
              <a:gd name="connsiteY54" fmla="*/ 1533200 h 2039827"/>
              <a:gd name="connsiteX55" fmla="*/ 1686697 w 2168610"/>
              <a:gd name="connsiteY55" fmla="*/ 1533200 h 2039827"/>
              <a:gd name="connsiteX56" fmla="*/ 1705232 w 2168610"/>
              <a:gd name="connsiteY56" fmla="*/ 1533200 h 2039827"/>
              <a:gd name="connsiteX57" fmla="*/ 1705232 w 2168610"/>
              <a:gd name="connsiteY57" fmla="*/ 1502308 h 2039827"/>
              <a:gd name="connsiteX58" fmla="*/ 1699054 w 2168610"/>
              <a:gd name="connsiteY58" fmla="*/ 1483773 h 2039827"/>
              <a:gd name="connsiteX59" fmla="*/ 1699054 w 2168610"/>
              <a:gd name="connsiteY59" fmla="*/ 1483773 h 2039827"/>
              <a:gd name="connsiteX60" fmla="*/ 1773194 w 2168610"/>
              <a:gd name="connsiteY60" fmla="*/ 1489951 h 2039827"/>
              <a:gd name="connsiteX61" fmla="*/ 1834978 w 2168610"/>
              <a:gd name="connsiteY61" fmla="*/ 1477595 h 2039827"/>
              <a:gd name="connsiteX62" fmla="*/ 1896762 w 2168610"/>
              <a:gd name="connsiteY62" fmla="*/ 1421989 h 2039827"/>
              <a:gd name="connsiteX63" fmla="*/ 1896762 w 2168610"/>
              <a:gd name="connsiteY63" fmla="*/ 1378740 h 2039827"/>
              <a:gd name="connsiteX64" fmla="*/ 1946189 w 2168610"/>
              <a:gd name="connsiteY64" fmla="*/ 1347849 h 2039827"/>
              <a:gd name="connsiteX65" fmla="*/ 1940010 w 2168610"/>
              <a:gd name="connsiteY65" fmla="*/ 1286065 h 2039827"/>
              <a:gd name="connsiteX66" fmla="*/ 1983259 w 2168610"/>
              <a:gd name="connsiteY66" fmla="*/ 1267530 h 2039827"/>
              <a:gd name="connsiteX67" fmla="*/ 2007973 w 2168610"/>
              <a:gd name="connsiteY67" fmla="*/ 1329313 h 2039827"/>
              <a:gd name="connsiteX68" fmla="*/ 2143897 w 2168610"/>
              <a:gd name="connsiteY68" fmla="*/ 1255173 h 2039827"/>
              <a:gd name="connsiteX69" fmla="*/ 2156254 w 2168610"/>
              <a:gd name="connsiteY69" fmla="*/ 1168676 h 2039827"/>
              <a:gd name="connsiteX70" fmla="*/ 2143897 w 2168610"/>
              <a:gd name="connsiteY70" fmla="*/ 1131605 h 2039827"/>
              <a:gd name="connsiteX71" fmla="*/ 2137719 w 2168610"/>
              <a:gd name="connsiteY71" fmla="*/ 1094535 h 2039827"/>
              <a:gd name="connsiteX72" fmla="*/ 2150075 w 2168610"/>
              <a:gd name="connsiteY72" fmla="*/ 1051286 h 2039827"/>
              <a:gd name="connsiteX73" fmla="*/ 2168610 w 2168610"/>
              <a:gd name="connsiteY73" fmla="*/ 1014216 h 2039827"/>
              <a:gd name="connsiteX74" fmla="*/ 2131540 w 2168610"/>
              <a:gd name="connsiteY74" fmla="*/ 903005 h 2039827"/>
              <a:gd name="connsiteX75" fmla="*/ 2100648 w 2168610"/>
              <a:gd name="connsiteY75" fmla="*/ 872113 h 2039827"/>
              <a:gd name="connsiteX76" fmla="*/ 2075935 w 2168610"/>
              <a:gd name="connsiteY76" fmla="*/ 791795 h 2039827"/>
              <a:gd name="connsiteX77" fmla="*/ 2063578 w 2168610"/>
              <a:gd name="connsiteY77" fmla="*/ 618800 h 2039827"/>
              <a:gd name="connsiteX78" fmla="*/ 2051221 w 2168610"/>
              <a:gd name="connsiteY78" fmla="*/ 519946 h 2039827"/>
              <a:gd name="connsiteX79" fmla="*/ 2032686 w 2168610"/>
              <a:gd name="connsiteY79" fmla="*/ 501411 h 2039827"/>
              <a:gd name="connsiteX80" fmla="*/ 1983259 w 2168610"/>
              <a:gd name="connsiteY80" fmla="*/ 526124 h 2039827"/>
              <a:gd name="connsiteX81" fmla="*/ 1872048 w 2168610"/>
              <a:gd name="connsiteY81" fmla="*/ 470519 h 2039827"/>
              <a:gd name="connsiteX82" fmla="*/ 1834978 w 2168610"/>
              <a:gd name="connsiteY82" fmla="*/ 470519 h 2039827"/>
              <a:gd name="connsiteX83" fmla="*/ 1767016 w 2168610"/>
              <a:gd name="connsiteY83" fmla="*/ 464340 h 2039827"/>
              <a:gd name="connsiteX84" fmla="*/ 1692875 w 2168610"/>
              <a:gd name="connsiteY84" fmla="*/ 519946 h 2039827"/>
              <a:gd name="connsiteX85" fmla="*/ 1631092 w 2168610"/>
              <a:gd name="connsiteY85" fmla="*/ 489054 h 2039827"/>
              <a:gd name="connsiteX86" fmla="*/ 1594021 w 2168610"/>
              <a:gd name="connsiteY86" fmla="*/ 501411 h 2039827"/>
              <a:gd name="connsiteX87" fmla="*/ 1594083 w 2168610"/>
              <a:gd name="connsiteY87" fmla="*/ 489288 h 2039827"/>
              <a:gd name="connsiteX88" fmla="*/ 1519881 w 2168610"/>
              <a:gd name="connsiteY88" fmla="*/ 495232 h 2039827"/>
              <a:gd name="connsiteX89" fmla="*/ 1488989 w 2168610"/>
              <a:gd name="connsiteY89" fmla="*/ 470519 h 2039827"/>
              <a:gd name="connsiteX90" fmla="*/ 1439562 w 2168610"/>
              <a:gd name="connsiteY90" fmla="*/ 489054 h 2039827"/>
              <a:gd name="connsiteX91" fmla="*/ 1362643 w 2168610"/>
              <a:gd name="connsiteY91" fmla="*/ 433707 h 2039827"/>
              <a:gd name="connsiteX92" fmla="*/ 1291281 w 2168610"/>
              <a:gd name="connsiteY92" fmla="*/ 451984 h 2039827"/>
              <a:gd name="connsiteX93" fmla="*/ 1260389 w 2168610"/>
              <a:gd name="connsiteY93" fmla="*/ 439627 h 2039827"/>
              <a:gd name="connsiteX94" fmla="*/ 1240486 w 2168610"/>
              <a:gd name="connsiteY94" fmla="*/ 432292 h 2039827"/>
              <a:gd name="connsiteX95" fmla="*/ 1210962 w 2168610"/>
              <a:gd name="connsiteY95" fmla="*/ 396378 h 2039827"/>
              <a:gd name="connsiteX96" fmla="*/ 1144010 w 2168610"/>
              <a:gd name="connsiteY96" fmla="*/ 390478 h 2039827"/>
              <a:gd name="connsiteX97" fmla="*/ 1105929 w 2168610"/>
              <a:gd name="connsiteY97" fmla="*/ 371665 h 2039827"/>
              <a:gd name="connsiteX98" fmla="*/ 1087394 w 2168610"/>
              <a:gd name="connsiteY98" fmla="*/ 371665 h 2039827"/>
              <a:gd name="connsiteX99" fmla="*/ 1075037 w 2168610"/>
              <a:gd name="connsiteY99" fmla="*/ 359308 h 2039827"/>
              <a:gd name="connsiteX100" fmla="*/ 1062681 w 2168610"/>
              <a:gd name="connsiteY100" fmla="*/ 353130 h 2039827"/>
              <a:gd name="connsiteX101" fmla="*/ 1068450 w 2168610"/>
              <a:gd name="connsiteY101" fmla="*/ 10936 h 2039827"/>
              <a:gd name="connsiteX102" fmla="*/ 598898 w 2168610"/>
              <a:gd name="connsiteY102" fmla="*/ 0 h 2039827"/>
              <a:gd name="connsiteX0" fmla="*/ 602245 w 2171957"/>
              <a:gd name="connsiteY0" fmla="*/ 0 h 2039827"/>
              <a:gd name="connsiteX1" fmla="*/ 584114 w 2171957"/>
              <a:gd name="connsiteY1" fmla="*/ 872113 h 2039827"/>
              <a:gd name="connsiteX2" fmla="*/ 0 w 2171957"/>
              <a:gd name="connsiteY2" fmla="*/ 841299 h 2039827"/>
              <a:gd name="connsiteX3" fmla="*/ 3347 w 2171957"/>
              <a:gd name="connsiteY3" fmla="*/ 890649 h 2039827"/>
              <a:gd name="connsiteX4" fmla="*/ 52774 w 2171957"/>
              <a:gd name="connsiteY4" fmla="*/ 921540 h 2039827"/>
              <a:gd name="connsiteX5" fmla="*/ 108379 w 2171957"/>
              <a:gd name="connsiteY5" fmla="*/ 989503 h 2039827"/>
              <a:gd name="connsiteX6" fmla="*/ 157806 w 2171957"/>
              <a:gd name="connsiteY6" fmla="*/ 1063643 h 2039827"/>
              <a:gd name="connsiteX7" fmla="*/ 207233 w 2171957"/>
              <a:gd name="connsiteY7" fmla="*/ 1076000 h 2039827"/>
              <a:gd name="connsiteX8" fmla="*/ 244303 w 2171957"/>
              <a:gd name="connsiteY8" fmla="*/ 1125427 h 2039827"/>
              <a:gd name="connsiteX9" fmla="*/ 275195 w 2171957"/>
              <a:gd name="connsiteY9" fmla="*/ 1174854 h 2039827"/>
              <a:gd name="connsiteX10" fmla="*/ 299909 w 2171957"/>
              <a:gd name="connsiteY10" fmla="*/ 1230459 h 2039827"/>
              <a:gd name="connsiteX11" fmla="*/ 312266 w 2171957"/>
              <a:gd name="connsiteY11" fmla="*/ 1304600 h 2039827"/>
              <a:gd name="connsiteX12" fmla="*/ 330801 w 2171957"/>
              <a:gd name="connsiteY12" fmla="*/ 1329313 h 2039827"/>
              <a:gd name="connsiteX13" fmla="*/ 435833 w 2171957"/>
              <a:gd name="connsiteY13" fmla="*/ 1409632 h 2039827"/>
              <a:gd name="connsiteX14" fmla="*/ 442012 w 2171957"/>
              <a:gd name="connsiteY14" fmla="*/ 1384919 h 2039827"/>
              <a:gd name="connsiteX15" fmla="*/ 577936 w 2171957"/>
              <a:gd name="connsiteY15" fmla="*/ 1452881 h 2039827"/>
              <a:gd name="connsiteX16" fmla="*/ 577936 w 2171957"/>
              <a:gd name="connsiteY16" fmla="*/ 1452881 h 2039827"/>
              <a:gd name="connsiteX17" fmla="*/ 608828 w 2171957"/>
              <a:gd name="connsiteY17" fmla="*/ 1397276 h 2039827"/>
              <a:gd name="connsiteX18" fmla="*/ 664433 w 2171957"/>
              <a:gd name="connsiteY18" fmla="*/ 1329313 h 2039827"/>
              <a:gd name="connsiteX19" fmla="*/ 732395 w 2171957"/>
              <a:gd name="connsiteY19" fmla="*/ 1310778 h 2039827"/>
              <a:gd name="connsiteX20" fmla="*/ 825071 w 2171957"/>
              <a:gd name="connsiteY20" fmla="*/ 1323135 h 2039827"/>
              <a:gd name="connsiteX21" fmla="*/ 905390 w 2171957"/>
              <a:gd name="connsiteY21" fmla="*/ 1384919 h 2039827"/>
              <a:gd name="connsiteX22" fmla="*/ 960995 w 2171957"/>
              <a:gd name="connsiteY22" fmla="*/ 1465238 h 2039827"/>
              <a:gd name="connsiteX23" fmla="*/ 1016601 w 2171957"/>
              <a:gd name="connsiteY23" fmla="*/ 1545557 h 2039827"/>
              <a:gd name="connsiteX24" fmla="*/ 1066028 w 2171957"/>
              <a:gd name="connsiteY24" fmla="*/ 1632054 h 2039827"/>
              <a:gd name="connsiteX25" fmla="*/ 1121633 w 2171957"/>
              <a:gd name="connsiteY25" fmla="*/ 1700016 h 2039827"/>
              <a:gd name="connsiteX26" fmla="*/ 1171060 w 2171957"/>
              <a:gd name="connsiteY26" fmla="*/ 1737086 h 2039827"/>
              <a:gd name="connsiteX27" fmla="*/ 1201952 w 2171957"/>
              <a:gd name="connsiteY27" fmla="*/ 1817405 h 2039827"/>
              <a:gd name="connsiteX28" fmla="*/ 1226666 w 2171957"/>
              <a:gd name="connsiteY28" fmla="*/ 1879189 h 2039827"/>
              <a:gd name="connsiteX29" fmla="*/ 1251379 w 2171957"/>
              <a:gd name="connsiteY29" fmla="*/ 1940973 h 2039827"/>
              <a:gd name="connsiteX30" fmla="*/ 1282271 w 2171957"/>
              <a:gd name="connsiteY30" fmla="*/ 1984222 h 2039827"/>
              <a:gd name="connsiteX31" fmla="*/ 1344055 w 2171957"/>
              <a:gd name="connsiteY31" fmla="*/ 2008935 h 2039827"/>
              <a:gd name="connsiteX32" fmla="*/ 1442909 w 2171957"/>
              <a:gd name="connsiteY32" fmla="*/ 2027470 h 2039827"/>
              <a:gd name="connsiteX33" fmla="*/ 1517049 w 2171957"/>
              <a:gd name="connsiteY33" fmla="*/ 2039827 h 2039827"/>
              <a:gd name="connsiteX34" fmla="*/ 1609725 w 2171957"/>
              <a:gd name="connsiteY34" fmla="*/ 2039827 h 2039827"/>
              <a:gd name="connsiteX35" fmla="*/ 1591190 w 2171957"/>
              <a:gd name="connsiteY35" fmla="*/ 2027470 h 2039827"/>
              <a:gd name="connsiteX36" fmla="*/ 1591190 w 2171957"/>
              <a:gd name="connsiteY36" fmla="*/ 2027470 h 2039827"/>
              <a:gd name="connsiteX37" fmla="*/ 1578833 w 2171957"/>
              <a:gd name="connsiteY37" fmla="*/ 1959508 h 2039827"/>
              <a:gd name="connsiteX38" fmla="*/ 1554120 w 2171957"/>
              <a:gd name="connsiteY38" fmla="*/ 1928616 h 2039827"/>
              <a:gd name="connsiteX39" fmla="*/ 1547941 w 2171957"/>
              <a:gd name="connsiteY39" fmla="*/ 1891546 h 2039827"/>
              <a:gd name="connsiteX40" fmla="*/ 1529406 w 2171957"/>
              <a:gd name="connsiteY40" fmla="*/ 1848297 h 2039827"/>
              <a:gd name="connsiteX41" fmla="*/ 1541763 w 2171957"/>
              <a:gd name="connsiteY41" fmla="*/ 1817405 h 2039827"/>
              <a:gd name="connsiteX42" fmla="*/ 1535584 w 2171957"/>
              <a:gd name="connsiteY42" fmla="*/ 1798870 h 2039827"/>
              <a:gd name="connsiteX43" fmla="*/ 1492336 w 2171957"/>
              <a:gd name="connsiteY43" fmla="*/ 1774157 h 2039827"/>
              <a:gd name="connsiteX44" fmla="*/ 1541763 w 2171957"/>
              <a:gd name="connsiteY44" fmla="*/ 1743265 h 2039827"/>
              <a:gd name="connsiteX45" fmla="*/ 1547941 w 2171957"/>
              <a:gd name="connsiteY45" fmla="*/ 1730908 h 2039827"/>
              <a:gd name="connsiteX46" fmla="*/ 1554120 w 2171957"/>
              <a:gd name="connsiteY46" fmla="*/ 1700016 h 2039827"/>
              <a:gd name="connsiteX47" fmla="*/ 1529406 w 2171957"/>
              <a:gd name="connsiteY47" fmla="*/ 1669124 h 2039827"/>
              <a:gd name="connsiteX48" fmla="*/ 1554120 w 2171957"/>
              <a:gd name="connsiteY48" fmla="*/ 1669124 h 2039827"/>
              <a:gd name="connsiteX49" fmla="*/ 1578833 w 2171957"/>
              <a:gd name="connsiteY49" fmla="*/ 1650589 h 2039827"/>
              <a:gd name="connsiteX50" fmla="*/ 1554120 w 2171957"/>
              <a:gd name="connsiteY50" fmla="*/ 1594984 h 2039827"/>
              <a:gd name="connsiteX51" fmla="*/ 1554120 w 2171957"/>
              <a:gd name="connsiteY51" fmla="*/ 1594984 h 2039827"/>
              <a:gd name="connsiteX52" fmla="*/ 1622082 w 2171957"/>
              <a:gd name="connsiteY52" fmla="*/ 1594984 h 2039827"/>
              <a:gd name="connsiteX53" fmla="*/ 1634439 w 2171957"/>
              <a:gd name="connsiteY53" fmla="*/ 1582627 h 2039827"/>
              <a:gd name="connsiteX54" fmla="*/ 1652974 w 2171957"/>
              <a:gd name="connsiteY54" fmla="*/ 1533200 h 2039827"/>
              <a:gd name="connsiteX55" fmla="*/ 1690044 w 2171957"/>
              <a:gd name="connsiteY55" fmla="*/ 1533200 h 2039827"/>
              <a:gd name="connsiteX56" fmla="*/ 1708579 w 2171957"/>
              <a:gd name="connsiteY56" fmla="*/ 1533200 h 2039827"/>
              <a:gd name="connsiteX57" fmla="*/ 1708579 w 2171957"/>
              <a:gd name="connsiteY57" fmla="*/ 1502308 h 2039827"/>
              <a:gd name="connsiteX58" fmla="*/ 1702401 w 2171957"/>
              <a:gd name="connsiteY58" fmla="*/ 1483773 h 2039827"/>
              <a:gd name="connsiteX59" fmla="*/ 1702401 w 2171957"/>
              <a:gd name="connsiteY59" fmla="*/ 1483773 h 2039827"/>
              <a:gd name="connsiteX60" fmla="*/ 1776541 w 2171957"/>
              <a:gd name="connsiteY60" fmla="*/ 1489951 h 2039827"/>
              <a:gd name="connsiteX61" fmla="*/ 1838325 w 2171957"/>
              <a:gd name="connsiteY61" fmla="*/ 1477595 h 2039827"/>
              <a:gd name="connsiteX62" fmla="*/ 1900109 w 2171957"/>
              <a:gd name="connsiteY62" fmla="*/ 1421989 h 2039827"/>
              <a:gd name="connsiteX63" fmla="*/ 1900109 w 2171957"/>
              <a:gd name="connsiteY63" fmla="*/ 1378740 h 2039827"/>
              <a:gd name="connsiteX64" fmla="*/ 1949536 w 2171957"/>
              <a:gd name="connsiteY64" fmla="*/ 1347849 h 2039827"/>
              <a:gd name="connsiteX65" fmla="*/ 1943357 w 2171957"/>
              <a:gd name="connsiteY65" fmla="*/ 1286065 h 2039827"/>
              <a:gd name="connsiteX66" fmla="*/ 1986606 w 2171957"/>
              <a:gd name="connsiteY66" fmla="*/ 1267530 h 2039827"/>
              <a:gd name="connsiteX67" fmla="*/ 2011320 w 2171957"/>
              <a:gd name="connsiteY67" fmla="*/ 1329313 h 2039827"/>
              <a:gd name="connsiteX68" fmla="*/ 2147244 w 2171957"/>
              <a:gd name="connsiteY68" fmla="*/ 1255173 h 2039827"/>
              <a:gd name="connsiteX69" fmla="*/ 2159601 w 2171957"/>
              <a:gd name="connsiteY69" fmla="*/ 1168676 h 2039827"/>
              <a:gd name="connsiteX70" fmla="*/ 2147244 w 2171957"/>
              <a:gd name="connsiteY70" fmla="*/ 1131605 h 2039827"/>
              <a:gd name="connsiteX71" fmla="*/ 2141066 w 2171957"/>
              <a:gd name="connsiteY71" fmla="*/ 1094535 h 2039827"/>
              <a:gd name="connsiteX72" fmla="*/ 2153422 w 2171957"/>
              <a:gd name="connsiteY72" fmla="*/ 1051286 h 2039827"/>
              <a:gd name="connsiteX73" fmla="*/ 2171957 w 2171957"/>
              <a:gd name="connsiteY73" fmla="*/ 1014216 h 2039827"/>
              <a:gd name="connsiteX74" fmla="*/ 2134887 w 2171957"/>
              <a:gd name="connsiteY74" fmla="*/ 903005 h 2039827"/>
              <a:gd name="connsiteX75" fmla="*/ 2103995 w 2171957"/>
              <a:gd name="connsiteY75" fmla="*/ 872113 h 2039827"/>
              <a:gd name="connsiteX76" fmla="*/ 2079282 w 2171957"/>
              <a:gd name="connsiteY76" fmla="*/ 791795 h 2039827"/>
              <a:gd name="connsiteX77" fmla="*/ 2066925 w 2171957"/>
              <a:gd name="connsiteY77" fmla="*/ 618800 h 2039827"/>
              <a:gd name="connsiteX78" fmla="*/ 2054568 w 2171957"/>
              <a:gd name="connsiteY78" fmla="*/ 519946 h 2039827"/>
              <a:gd name="connsiteX79" fmla="*/ 2036033 w 2171957"/>
              <a:gd name="connsiteY79" fmla="*/ 501411 h 2039827"/>
              <a:gd name="connsiteX80" fmla="*/ 1986606 w 2171957"/>
              <a:gd name="connsiteY80" fmla="*/ 526124 h 2039827"/>
              <a:gd name="connsiteX81" fmla="*/ 1875395 w 2171957"/>
              <a:gd name="connsiteY81" fmla="*/ 470519 h 2039827"/>
              <a:gd name="connsiteX82" fmla="*/ 1838325 w 2171957"/>
              <a:gd name="connsiteY82" fmla="*/ 470519 h 2039827"/>
              <a:gd name="connsiteX83" fmla="*/ 1770363 w 2171957"/>
              <a:gd name="connsiteY83" fmla="*/ 464340 h 2039827"/>
              <a:gd name="connsiteX84" fmla="*/ 1696222 w 2171957"/>
              <a:gd name="connsiteY84" fmla="*/ 519946 h 2039827"/>
              <a:gd name="connsiteX85" fmla="*/ 1634439 w 2171957"/>
              <a:gd name="connsiteY85" fmla="*/ 489054 h 2039827"/>
              <a:gd name="connsiteX86" fmla="*/ 1597368 w 2171957"/>
              <a:gd name="connsiteY86" fmla="*/ 501411 h 2039827"/>
              <a:gd name="connsiteX87" fmla="*/ 1597430 w 2171957"/>
              <a:gd name="connsiteY87" fmla="*/ 489288 h 2039827"/>
              <a:gd name="connsiteX88" fmla="*/ 1523228 w 2171957"/>
              <a:gd name="connsiteY88" fmla="*/ 495232 h 2039827"/>
              <a:gd name="connsiteX89" fmla="*/ 1492336 w 2171957"/>
              <a:gd name="connsiteY89" fmla="*/ 470519 h 2039827"/>
              <a:gd name="connsiteX90" fmla="*/ 1442909 w 2171957"/>
              <a:gd name="connsiteY90" fmla="*/ 489054 h 2039827"/>
              <a:gd name="connsiteX91" fmla="*/ 1365990 w 2171957"/>
              <a:gd name="connsiteY91" fmla="*/ 433707 h 2039827"/>
              <a:gd name="connsiteX92" fmla="*/ 1294628 w 2171957"/>
              <a:gd name="connsiteY92" fmla="*/ 451984 h 2039827"/>
              <a:gd name="connsiteX93" fmla="*/ 1263736 w 2171957"/>
              <a:gd name="connsiteY93" fmla="*/ 439627 h 2039827"/>
              <a:gd name="connsiteX94" fmla="*/ 1243833 w 2171957"/>
              <a:gd name="connsiteY94" fmla="*/ 432292 h 2039827"/>
              <a:gd name="connsiteX95" fmla="*/ 1214309 w 2171957"/>
              <a:gd name="connsiteY95" fmla="*/ 396378 h 2039827"/>
              <a:gd name="connsiteX96" fmla="*/ 1147357 w 2171957"/>
              <a:gd name="connsiteY96" fmla="*/ 390478 h 2039827"/>
              <a:gd name="connsiteX97" fmla="*/ 1109276 w 2171957"/>
              <a:gd name="connsiteY97" fmla="*/ 371665 h 2039827"/>
              <a:gd name="connsiteX98" fmla="*/ 1090741 w 2171957"/>
              <a:gd name="connsiteY98" fmla="*/ 371665 h 2039827"/>
              <a:gd name="connsiteX99" fmla="*/ 1078384 w 2171957"/>
              <a:gd name="connsiteY99" fmla="*/ 359308 h 2039827"/>
              <a:gd name="connsiteX100" fmla="*/ 1066028 w 2171957"/>
              <a:gd name="connsiteY100" fmla="*/ 353130 h 2039827"/>
              <a:gd name="connsiteX101" fmla="*/ 1071797 w 2171957"/>
              <a:gd name="connsiteY101" fmla="*/ 10936 h 2039827"/>
              <a:gd name="connsiteX102" fmla="*/ 602245 w 2171957"/>
              <a:gd name="connsiteY102" fmla="*/ 0 h 2039827"/>
              <a:gd name="connsiteX0" fmla="*/ 608423 w 2178135"/>
              <a:gd name="connsiteY0" fmla="*/ 0 h 2039827"/>
              <a:gd name="connsiteX1" fmla="*/ 590292 w 2178135"/>
              <a:gd name="connsiteY1" fmla="*/ 872113 h 2039827"/>
              <a:gd name="connsiteX2" fmla="*/ 6178 w 2178135"/>
              <a:gd name="connsiteY2" fmla="*/ 841299 h 2039827"/>
              <a:gd name="connsiteX3" fmla="*/ 0 w 2178135"/>
              <a:gd name="connsiteY3" fmla="*/ 880734 h 2039827"/>
              <a:gd name="connsiteX4" fmla="*/ 58952 w 2178135"/>
              <a:gd name="connsiteY4" fmla="*/ 921540 h 2039827"/>
              <a:gd name="connsiteX5" fmla="*/ 114557 w 2178135"/>
              <a:gd name="connsiteY5" fmla="*/ 989503 h 2039827"/>
              <a:gd name="connsiteX6" fmla="*/ 163984 w 2178135"/>
              <a:gd name="connsiteY6" fmla="*/ 1063643 h 2039827"/>
              <a:gd name="connsiteX7" fmla="*/ 213411 w 2178135"/>
              <a:gd name="connsiteY7" fmla="*/ 1076000 h 2039827"/>
              <a:gd name="connsiteX8" fmla="*/ 250481 w 2178135"/>
              <a:gd name="connsiteY8" fmla="*/ 1125427 h 2039827"/>
              <a:gd name="connsiteX9" fmla="*/ 281373 w 2178135"/>
              <a:gd name="connsiteY9" fmla="*/ 1174854 h 2039827"/>
              <a:gd name="connsiteX10" fmla="*/ 306087 w 2178135"/>
              <a:gd name="connsiteY10" fmla="*/ 1230459 h 2039827"/>
              <a:gd name="connsiteX11" fmla="*/ 318444 w 2178135"/>
              <a:gd name="connsiteY11" fmla="*/ 1304600 h 2039827"/>
              <a:gd name="connsiteX12" fmla="*/ 336979 w 2178135"/>
              <a:gd name="connsiteY12" fmla="*/ 1329313 h 2039827"/>
              <a:gd name="connsiteX13" fmla="*/ 442011 w 2178135"/>
              <a:gd name="connsiteY13" fmla="*/ 1409632 h 2039827"/>
              <a:gd name="connsiteX14" fmla="*/ 448190 w 2178135"/>
              <a:gd name="connsiteY14" fmla="*/ 1384919 h 2039827"/>
              <a:gd name="connsiteX15" fmla="*/ 584114 w 2178135"/>
              <a:gd name="connsiteY15" fmla="*/ 1452881 h 2039827"/>
              <a:gd name="connsiteX16" fmla="*/ 584114 w 2178135"/>
              <a:gd name="connsiteY16" fmla="*/ 1452881 h 2039827"/>
              <a:gd name="connsiteX17" fmla="*/ 615006 w 2178135"/>
              <a:gd name="connsiteY17" fmla="*/ 1397276 h 2039827"/>
              <a:gd name="connsiteX18" fmla="*/ 670611 w 2178135"/>
              <a:gd name="connsiteY18" fmla="*/ 1329313 h 2039827"/>
              <a:gd name="connsiteX19" fmla="*/ 738573 w 2178135"/>
              <a:gd name="connsiteY19" fmla="*/ 1310778 h 2039827"/>
              <a:gd name="connsiteX20" fmla="*/ 831249 w 2178135"/>
              <a:gd name="connsiteY20" fmla="*/ 1323135 h 2039827"/>
              <a:gd name="connsiteX21" fmla="*/ 911568 w 2178135"/>
              <a:gd name="connsiteY21" fmla="*/ 1384919 h 2039827"/>
              <a:gd name="connsiteX22" fmla="*/ 967173 w 2178135"/>
              <a:gd name="connsiteY22" fmla="*/ 1465238 h 2039827"/>
              <a:gd name="connsiteX23" fmla="*/ 1022779 w 2178135"/>
              <a:gd name="connsiteY23" fmla="*/ 1545557 h 2039827"/>
              <a:gd name="connsiteX24" fmla="*/ 1072206 w 2178135"/>
              <a:gd name="connsiteY24" fmla="*/ 1632054 h 2039827"/>
              <a:gd name="connsiteX25" fmla="*/ 1127811 w 2178135"/>
              <a:gd name="connsiteY25" fmla="*/ 1700016 h 2039827"/>
              <a:gd name="connsiteX26" fmla="*/ 1177238 w 2178135"/>
              <a:gd name="connsiteY26" fmla="*/ 1737086 h 2039827"/>
              <a:gd name="connsiteX27" fmla="*/ 1208130 w 2178135"/>
              <a:gd name="connsiteY27" fmla="*/ 1817405 h 2039827"/>
              <a:gd name="connsiteX28" fmla="*/ 1232844 w 2178135"/>
              <a:gd name="connsiteY28" fmla="*/ 1879189 h 2039827"/>
              <a:gd name="connsiteX29" fmla="*/ 1257557 w 2178135"/>
              <a:gd name="connsiteY29" fmla="*/ 1940973 h 2039827"/>
              <a:gd name="connsiteX30" fmla="*/ 1288449 w 2178135"/>
              <a:gd name="connsiteY30" fmla="*/ 1984222 h 2039827"/>
              <a:gd name="connsiteX31" fmla="*/ 1350233 w 2178135"/>
              <a:gd name="connsiteY31" fmla="*/ 2008935 h 2039827"/>
              <a:gd name="connsiteX32" fmla="*/ 1449087 w 2178135"/>
              <a:gd name="connsiteY32" fmla="*/ 2027470 h 2039827"/>
              <a:gd name="connsiteX33" fmla="*/ 1523227 w 2178135"/>
              <a:gd name="connsiteY33" fmla="*/ 2039827 h 2039827"/>
              <a:gd name="connsiteX34" fmla="*/ 1615903 w 2178135"/>
              <a:gd name="connsiteY34" fmla="*/ 2039827 h 2039827"/>
              <a:gd name="connsiteX35" fmla="*/ 1597368 w 2178135"/>
              <a:gd name="connsiteY35" fmla="*/ 2027470 h 2039827"/>
              <a:gd name="connsiteX36" fmla="*/ 1597368 w 2178135"/>
              <a:gd name="connsiteY36" fmla="*/ 2027470 h 2039827"/>
              <a:gd name="connsiteX37" fmla="*/ 1585011 w 2178135"/>
              <a:gd name="connsiteY37" fmla="*/ 1959508 h 2039827"/>
              <a:gd name="connsiteX38" fmla="*/ 1560298 w 2178135"/>
              <a:gd name="connsiteY38" fmla="*/ 1928616 h 2039827"/>
              <a:gd name="connsiteX39" fmla="*/ 1554119 w 2178135"/>
              <a:gd name="connsiteY39" fmla="*/ 1891546 h 2039827"/>
              <a:gd name="connsiteX40" fmla="*/ 1535584 w 2178135"/>
              <a:gd name="connsiteY40" fmla="*/ 1848297 h 2039827"/>
              <a:gd name="connsiteX41" fmla="*/ 1547941 w 2178135"/>
              <a:gd name="connsiteY41" fmla="*/ 1817405 h 2039827"/>
              <a:gd name="connsiteX42" fmla="*/ 1541762 w 2178135"/>
              <a:gd name="connsiteY42" fmla="*/ 1798870 h 2039827"/>
              <a:gd name="connsiteX43" fmla="*/ 1498514 w 2178135"/>
              <a:gd name="connsiteY43" fmla="*/ 1774157 h 2039827"/>
              <a:gd name="connsiteX44" fmla="*/ 1547941 w 2178135"/>
              <a:gd name="connsiteY44" fmla="*/ 1743265 h 2039827"/>
              <a:gd name="connsiteX45" fmla="*/ 1554119 w 2178135"/>
              <a:gd name="connsiteY45" fmla="*/ 1730908 h 2039827"/>
              <a:gd name="connsiteX46" fmla="*/ 1560298 w 2178135"/>
              <a:gd name="connsiteY46" fmla="*/ 1700016 h 2039827"/>
              <a:gd name="connsiteX47" fmla="*/ 1535584 w 2178135"/>
              <a:gd name="connsiteY47" fmla="*/ 1669124 h 2039827"/>
              <a:gd name="connsiteX48" fmla="*/ 1560298 w 2178135"/>
              <a:gd name="connsiteY48" fmla="*/ 1669124 h 2039827"/>
              <a:gd name="connsiteX49" fmla="*/ 1585011 w 2178135"/>
              <a:gd name="connsiteY49" fmla="*/ 1650589 h 2039827"/>
              <a:gd name="connsiteX50" fmla="*/ 1560298 w 2178135"/>
              <a:gd name="connsiteY50" fmla="*/ 1594984 h 2039827"/>
              <a:gd name="connsiteX51" fmla="*/ 1560298 w 2178135"/>
              <a:gd name="connsiteY51" fmla="*/ 1594984 h 2039827"/>
              <a:gd name="connsiteX52" fmla="*/ 1628260 w 2178135"/>
              <a:gd name="connsiteY52" fmla="*/ 1594984 h 2039827"/>
              <a:gd name="connsiteX53" fmla="*/ 1640617 w 2178135"/>
              <a:gd name="connsiteY53" fmla="*/ 1582627 h 2039827"/>
              <a:gd name="connsiteX54" fmla="*/ 1659152 w 2178135"/>
              <a:gd name="connsiteY54" fmla="*/ 1533200 h 2039827"/>
              <a:gd name="connsiteX55" fmla="*/ 1696222 w 2178135"/>
              <a:gd name="connsiteY55" fmla="*/ 1533200 h 2039827"/>
              <a:gd name="connsiteX56" fmla="*/ 1714757 w 2178135"/>
              <a:gd name="connsiteY56" fmla="*/ 1533200 h 2039827"/>
              <a:gd name="connsiteX57" fmla="*/ 1714757 w 2178135"/>
              <a:gd name="connsiteY57" fmla="*/ 1502308 h 2039827"/>
              <a:gd name="connsiteX58" fmla="*/ 1708579 w 2178135"/>
              <a:gd name="connsiteY58" fmla="*/ 1483773 h 2039827"/>
              <a:gd name="connsiteX59" fmla="*/ 1708579 w 2178135"/>
              <a:gd name="connsiteY59" fmla="*/ 1483773 h 2039827"/>
              <a:gd name="connsiteX60" fmla="*/ 1782719 w 2178135"/>
              <a:gd name="connsiteY60" fmla="*/ 1489951 h 2039827"/>
              <a:gd name="connsiteX61" fmla="*/ 1844503 w 2178135"/>
              <a:gd name="connsiteY61" fmla="*/ 1477595 h 2039827"/>
              <a:gd name="connsiteX62" fmla="*/ 1906287 w 2178135"/>
              <a:gd name="connsiteY62" fmla="*/ 1421989 h 2039827"/>
              <a:gd name="connsiteX63" fmla="*/ 1906287 w 2178135"/>
              <a:gd name="connsiteY63" fmla="*/ 1378740 h 2039827"/>
              <a:gd name="connsiteX64" fmla="*/ 1955714 w 2178135"/>
              <a:gd name="connsiteY64" fmla="*/ 1347849 h 2039827"/>
              <a:gd name="connsiteX65" fmla="*/ 1949535 w 2178135"/>
              <a:gd name="connsiteY65" fmla="*/ 1286065 h 2039827"/>
              <a:gd name="connsiteX66" fmla="*/ 1992784 w 2178135"/>
              <a:gd name="connsiteY66" fmla="*/ 1267530 h 2039827"/>
              <a:gd name="connsiteX67" fmla="*/ 2017498 w 2178135"/>
              <a:gd name="connsiteY67" fmla="*/ 1329313 h 2039827"/>
              <a:gd name="connsiteX68" fmla="*/ 2153422 w 2178135"/>
              <a:gd name="connsiteY68" fmla="*/ 1255173 h 2039827"/>
              <a:gd name="connsiteX69" fmla="*/ 2165779 w 2178135"/>
              <a:gd name="connsiteY69" fmla="*/ 1168676 h 2039827"/>
              <a:gd name="connsiteX70" fmla="*/ 2153422 w 2178135"/>
              <a:gd name="connsiteY70" fmla="*/ 1131605 h 2039827"/>
              <a:gd name="connsiteX71" fmla="*/ 2147244 w 2178135"/>
              <a:gd name="connsiteY71" fmla="*/ 1094535 h 2039827"/>
              <a:gd name="connsiteX72" fmla="*/ 2159600 w 2178135"/>
              <a:gd name="connsiteY72" fmla="*/ 1051286 h 2039827"/>
              <a:gd name="connsiteX73" fmla="*/ 2178135 w 2178135"/>
              <a:gd name="connsiteY73" fmla="*/ 1014216 h 2039827"/>
              <a:gd name="connsiteX74" fmla="*/ 2141065 w 2178135"/>
              <a:gd name="connsiteY74" fmla="*/ 903005 h 2039827"/>
              <a:gd name="connsiteX75" fmla="*/ 2110173 w 2178135"/>
              <a:gd name="connsiteY75" fmla="*/ 872113 h 2039827"/>
              <a:gd name="connsiteX76" fmla="*/ 2085460 w 2178135"/>
              <a:gd name="connsiteY76" fmla="*/ 791795 h 2039827"/>
              <a:gd name="connsiteX77" fmla="*/ 2073103 w 2178135"/>
              <a:gd name="connsiteY77" fmla="*/ 618800 h 2039827"/>
              <a:gd name="connsiteX78" fmla="*/ 2060746 w 2178135"/>
              <a:gd name="connsiteY78" fmla="*/ 519946 h 2039827"/>
              <a:gd name="connsiteX79" fmla="*/ 2042211 w 2178135"/>
              <a:gd name="connsiteY79" fmla="*/ 501411 h 2039827"/>
              <a:gd name="connsiteX80" fmla="*/ 1992784 w 2178135"/>
              <a:gd name="connsiteY80" fmla="*/ 526124 h 2039827"/>
              <a:gd name="connsiteX81" fmla="*/ 1881573 w 2178135"/>
              <a:gd name="connsiteY81" fmla="*/ 470519 h 2039827"/>
              <a:gd name="connsiteX82" fmla="*/ 1844503 w 2178135"/>
              <a:gd name="connsiteY82" fmla="*/ 470519 h 2039827"/>
              <a:gd name="connsiteX83" fmla="*/ 1776541 w 2178135"/>
              <a:gd name="connsiteY83" fmla="*/ 464340 h 2039827"/>
              <a:gd name="connsiteX84" fmla="*/ 1702400 w 2178135"/>
              <a:gd name="connsiteY84" fmla="*/ 519946 h 2039827"/>
              <a:gd name="connsiteX85" fmla="*/ 1640617 w 2178135"/>
              <a:gd name="connsiteY85" fmla="*/ 489054 h 2039827"/>
              <a:gd name="connsiteX86" fmla="*/ 1603546 w 2178135"/>
              <a:gd name="connsiteY86" fmla="*/ 501411 h 2039827"/>
              <a:gd name="connsiteX87" fmla="*/ 1603608 w 2178135"/>
              <a:gd name="connsiteY87" fmla="*/ 489288 h 2039827"/>
              <a:gd name="connsiteX88" fmla="*/ 1529406 w 2178135"/>
              <a:gd name="connsiteY88" fmla="*/ 495232 h 2039827"/>
              <a:gd name="connsiteX89" fmla="*/ 1498514 w 2178135"/>
              <a:gd name="connsiteY89" fmla="*/ 470519 h 2039827"/>
              <a:gd name="connsiteX90" fmla="*/ 1449087 w 2178135"/>
              <a:gd name="connsiteY90" fmla="*/ 489054 h 2039827"/>
              <a:gd name="connsiteX91" fmla="*/ 1372168 w 2178135"/>
              <a:gd name="connsiteY91" fmla="*/ 433707 h 2039827"/>
              <a:gd name="connsiteX92" fmla="*/ 1300806 w 2178135"/>
              <a:gd name="connsiteY92" fmla="*/ 451984 h 2039827"/>
              <a:gd name="connsiteX93" fmla="*/ 1269914 w 2178135"/>
              <a:gd name="connsiteY93" fmla="*/ 439627 h 2039827"/>
              <a:gd name="connsiteX94" fmla="*/ 1250011 w 2178135"/>
              <a:gd name="connsiteY94" fmla="*/ 432292 h 2039827"/>
              <a:gd name="connsiteX95" fmla="*/ 1220487 w 2178135"/>
              <a:gd name="connsiteY95" fmla="*/ 396378 h 2039827"/>
              <a:gd name="connsiteX96" fmla="*/ 1153535 w 2178135"/>
              <a:gd name="connsiteY96" fmla="*/ 390478 h 2039827"/>
              <a:gd name="connsiteX97" fmla="*/ 1115454 w 2178135"/>
              <a:gd name="connsiteY97" fmla="*/ 371665 h 2039827"/>
              <a:gd name="connsiteX98" fmla="*/ 1096919 w 2178135"/>
              <a:gd name="connsiteY98" fmla="*/ 371665 h 2039827"/>
              <a:gd name="connsiteX99" fmla="*/ 1084562 w 2178135"/>
              <a:gd name="connsiteY99" fmla="*/ 359308 h 2039827"/>
              <a:gd name="connsiteX100" fmla="*/ 1072206 w 2178135"/>
              <a:gd name="connsiteY100" fmla="*/ 353130 h 2039827"/>
              <a:gd name="connsiteX101" fmla="*/ 1077975 w 2178135"/>
              <a:gd name="connsiteY101" fmla="*/ 10936 h 2039827"/>
              <a:gd name="connsiteX102" fmla="*/ 608423 w 2178135"/>
              <a:gd name="connsiteY102" fmla="*/ 0 h 2039827"/>
              <a:gd name="connsiteX0" fmla="*/ 608423 w 2178135"/>
              <a:gd name="connsiteY0" fmla="*/ 0 h 2039827"/>
              <a:gd name="connsiteX1" fmla="*/ 590292 w 2178135"/>
              <a:gd name="connsiteY1" fmla="*/ 872113 h 2039827"/>
              <a:gd name="connsiteX2" fmla="*/ 6178 w 2178135"/>
              <a:gd name="connsiteY2" fmla="*/ 841299 h 2039827"/>
              <a:gd name="connsiteX3" fmla="*/ 0 w 2178135"/>
              <a:gd name="connsiteY3" fmla="*/ 880734 h 2039827"/>
              <a:gd name="connsiteX4" fmla="*/ 58952 w 2178135"/>
              <a:gd name="connsiteY4" fmla="*/ 921540 h 2039827"/>
              <a:gd name="connsiteX5" fmla="*/ 114557 w 2178135"/>
              <a:gd name="connsiteY5" fmla="*/ 989503 h 2039827"/>
              <a:gd name="connsiteX6" fmla="*/ 163984 w 2178135"/>
              <a:gd name="connsiteY6" fmla="*/ 1063643 h 2039827"/>
              <a:gd name="connsiteX7" fmla="*/ 213411 w 2178135"/>
              <a:gd name="connsiteY7" fmla="*/ 1076000 h 2039827"/>
              <a:gd name="connsiteX8" fmla="*/ 250481 w 2178135"/>
              <a:gd name="connsiteY8" fmla="*/ 1125427 h 2039827"/>
              <a:gd name="connsiteX9" fmla="*/ 281373 w 2178135"/>
              <a:gd name="connsiteY9" fmla="*/ 1174854 h 2039827"/>
              <a:gd name="connsiteX10" fmla="*/ 306087 w 2178135"/>
              <a:gd name="connsiteY10" fmla="*/ 1230459 h 2039827"/>
              <a:gd name="connsiteX11" fmla="*/ 318444 w 2178135"/>
              <a:gd name="connsiteY11" fmla="*/ 1304600 h 2039827"/>
              <a:gd name="connsiteX12" fmla="*/ 336979 w 2178135"/>
              <a:gd name="connsiteY12" fmla="*/ 1329313 h 2039827"/>
              <a:gd name="connsiteX13" fmla="*/ 442011 w 2178135"/>
              <a:gd name="connsiteY13" fmla="*/ 1409632 h 2039827"/>
              <a:gd name="connsiteX14" fmla="*/ 448190 w 2178135"/>
              <a:gd name="connsiteY14" fmla="*/ 1384919 h 2039827"/>
              <a:gd name="connsiteX15" fmla="*/ 584114 w 2178135"/>
              <a:gd name="connsiteY15" fmla="*/ 1452881 h 2039827"/>
              <a:gd name="connsiteX16" fmla="*/ 584114 w 2178135"/>
              <a:gd name="connsiteY16" fmla="*/ 1452881 h 2039827"/>
              <a:gd name="connsiteX17" fmla="*/ 615006 w 2178135"/>
              <a:gd name="connsiteY17" fmla="*/ 1397276 h 2039827"/>
              <a:gd name="connsiteX18" fmla="*/ 670611 w 2178135"/>
              <a:gd name="connsiteY18" fmla="*/ 1329313 h 2039827"/>
              <a:gd name="connsiteX19" fmla="*/ 738573 w 2178135"/>
              <a:gd name="connsiteY19" fmla="*/ 1310778 h 2039827"/>
              <a:gd name="connsiteX20" fmla="*/ 831249 w 2178135"/>
              <a:gd name="connsiteY20" fmla="*/ 1323135 h 2039827"/>
              <a:gd name="connsiteX21" fmla="*/ 911568 w 2178135"/>
              <a:gd name="connsiteY21" fmla="*/ 1384919 h 2039827"/>
              <a:gd name="connsiteX22" fmla="*/ 967173 w 2178135"/>
              <a:gd name="connsiteY22" fmla="*/ 1465238 h 2039827"/>
              <a:gd name="connsiteX23" fmla="*/ 1022779 w 2178135"/>
              <a:gd name="connsiteY23" fmla="*/ 1545557 h 2039827"/>
              <a:gd name="connsiteX24" fmla="*/ 1072206 w 2178135"/>
              <a:gd name="connsiteY24" fmla="*/ 1632054 h 2039827"/>
              <a:gd name="connsiteX25" fmla="*/ 1127811 w 2178135"/>
              <a:gd name="connsiteY25" fmla="*/ 1700016 h 2039827"/>
              <a:gd name="connsiteX26" fmla="*/ 1177238 w 2178135"/>
              <a:gd name="connsiteY26" fmla="*/ 1737086 h 2039827"/>
              <a:gd name="connsiteX27" fmla="*/ 1208130 w 2178135"/>
              <a:gd name="connsiteY27" fmla="*/ 1817405 h 2039827"/>
              <a:gd name="connsiteX28" fmla="*/ 1232844 w 2178135"/>
              <a:gd name="connsiteY28" fmla="*/ 1879189 h 2039827"/>
              <a:gd name="connsiteX29" fmla="*/ 1257557 w 2178135"/>
              <a:gd name="connsiteY29" fmla="*/ 1940973 h 2039827"/>
              <a:gd name="connsiteX30" fmla="*/ 1288449 w 2178135"/>
              <a:gd name="connsiteY30" fmla="*/ 1984222 h 2039827"/>
              <a:gd name="connsiteX31" fmla="*/ 1350233 w 2178135"/>
              <a:gd name="connsiteY31" fmla="*/ 2008935 h 2039827"/>
              <a:gd name="connsiteX32" fmla="*/ 1449087 w 2178135"/>
              <a:gd name="connsiteY32" fmla="*/ 2027470 h 2039827"/>
              <a:gd name="connsiteX33" fmla="*/ 1523227 w 2178135"/>
              <a:gd name="connsiteY33" fmla="*/ 2039827 h 2039827"/>
              <a:gd name="connsiteX34" fmla="*/ 1615903 w 2178135"/>
              <a:gd name="connsiteY34" fmla="*/ 2039827 h 2039827"/>
              <a:gd name="connsiteX35" fmla="*/ 1597368 w 2178135"/>
              <a:gd name="connsiteY35" fmla="*/ 2027470 h 2039827"/>
              <a:gd name="connsiteX36" fmla="*/ 1597368 w 2178135"/>
              <a:gd name="connsiteY36" fmla="*/ 2027470 h 2039827"/>
              <a:gd name="connsiteX37" fmla="*/ 1585011 w 2178135"/>
              <a:gd name="connsiteY37" fmla="*/ 1959508 h 2039827"/>
              <a:gd name="connsiteX38" fmla="*/ 1560298 w 2178135"/>
              <a:gd name="connsiteY38" fmla="*/ 1928616 h 2039827"/>
              <a:gd name="connsiteX39" fmla="*/ 1554119 w 2178135"/>
              <a:gd name="connsiteY39" fmla="*/ 1891546 h 2039827"/>
              <a:gd name="connsiteX40" fmla="*/ 1535584 w 2178135"/>
              <a:gd name="connsiteY40" fmla="*/ 1848297 h 2039827"/>
              <a:gd name="connsiteX41" fmla="*/ 1547941 w 2178135"/>
              <a:gd name="connsiteY41" fmla="*/ 1817405 h 2039827"/>
              <a:gd name="connsiteX42" fmla="*/ 1541762 w 2178135"/>
              <a:gd name="connsiteY42" fmla="*/ 1798870 h 2039827"/>
              <a:gd name="connsiteX43" fmla="*/ 1498514 w 2178135"/>
              <a:gd name="connsiteY43" fmla="*/ 1774157 h 2039827"/>
              <a:gd name="connsiteX44" fmla="*/ 1547941 w 2178135"/>
              <a:gd name="connsiteY44" fmla="*/ 1743265 h 2039827"/>
              <a:gd name="connsiteX45" fmla="*/ 1554119 w 2178135"/>
              <a:gd name="connsiteY45" fmla="*/ 1730908 h 2039827"/>
              <a:gd name="connsiteX46" fmla="*/ 1560298 w 2178135"/>
              <a:gd name="connsiteY46" fmla="*/ 1700016 h 2039827"/>
              <a:gd name="connsiteX47" fmla="*/ 1535584 w 2178135"/>
              <a:gd name="connsiteY47" fmla="*/ 1669124 h 2039827"/>
              <a:gd name="connsiteX48" fmla="*/ 1560298 w 2178135"/>
              <a:gd name="connsiteY48" fmla="*/ 1669124 h 2039827"/>
              <a:gd name="connsiteX49" fmla="*/ 1585011 w 2178135"/>
              <a:gd name="connsiteY49" fmla="*/ 1650589 h 2039827"/>
              <a:gd name="connsiteX50" fmla="*/ 1560298 w 2178135"/>
              <a:gd name="connsiteY50" fmla="*/ 1594984 h 2039827"/>
              <a:gd name="connsiteX51" fmla="*/ 1560298 w 2178135"/>
              <a:gd name="connsiteY51" fmla="*/ 1594984 h 2039827"/>
              <a:gd name="connsiteX52" fmla="*/ 1628260 w 2178135"/>
              <a:gd name="connsiteY52" fmla="*/ 1594984 h 2039827"/>
              <a:gd name="connsiteX53" fmla="*/ 1640617 w 2178135"/>
              <a:gd name="connsiteY53" fmla="*/ 1582627 h 2039827"/>
              <a:gd name="connsiteX54" fmla="*/ 1659152 w 2178135"/>
              <a:gd name="connsiteY54" fmla="*/ 1533200 h 2039827"/>
              <a:gd name="connsiteX55" fmla="*/ 1696222 w 2178135"/>
              <a:gd name="connsiteY55" fmla="*/ 1533200 h 2039827"/>
              <a:gd name="connsiteX56" fmla="*/ 1714757 w 2178135"/>
              <a:gd name="connsiteY56" fmla="*/ 1533200 h 2039827"/>
              <a:gd name="connsiteX57" fmla="*/ 1714757 w 2178135"/>
              <a:gd name="connsiteY57" fmla="*/ 1502308 h 2039827"/>
              <a:gd name="connsiteX58" fmla="*/ 1708579 w 2178135"/>
              <a:gd name="connsiteY58" fmla="*/ 1483773 h 2039827"/>
              <a:gd name="connsiteX59" fmla="*/ 1708579 w 2178135"/>
              <a:gd name="connsiteY59" fmla="*/ 1483773 h 2039827"/>
              <a:gd name="connsiteX60" fmla="*/ 1782719 w 2178135"/>
              <a:gd name="connsiteY60" fmla="*/ 1489951 h 2039827"/>
              <a:gd name="connsiteX61" fmla="*/ 1844503 w 2178135"/>
              <a:gd name="connsiteY61" fmla="*/ 1477595 h 2039827"/>
              <a:gd name="connsiteX62" fmla="*/ 1906287 w 2178135"/>
              <a:gd name="connsiteY62" fmla="*/ 1421989 h 2039827"/>
              <a:gd name="connsiteX63" fmla="*/ 1906287 w 2178135"/>
              <a:gd name="connsiteY63" fmla="*/ 1378740 h 2039827"/>
              <a:gd name="connsiteX64" fmla="*/ 1955714 w 2178135"/>
              <a:gd name="connsiteY64" fmla="*/ 1347849 h 2039827"/>
              <a:gd name="connsiteX65" fmla="*/ 1949535 w 2178135"/>
              <a:gd name="connsiteY65" fmla="*/ 1286065 h 2039827"/>
              <a:gd name="connsiteX66" fmla="*/ 1992784 w 2178135"/>
              <a:gd name="connsiteY66" fmla="*/ 1267530 h 2039827"/>
              <a:gd name="connsiteX67" fmla="*/ 2017498 w 2178135"/>
              <a:gd name="connsiteY67" fmla="*/ 1329313 h 2039827"/>
              <a:gd name="connsiteX68" fmla="*/ 2153422 w 2178135"/>
              <a:gd name="connsiteY68" fmla="*/ 1255173 h 2039827"/>
              <a:gd name="connsiteX69" fmla="*/ 2165779 w 2178135"/>
              <a:gd name="connsiteY69" fmla="*/ 1168676 h 2039827"/>
              <a:gd name="connsiteX70" fmla="*/ 2153422 w 2178135"/>
              <a:gd name="connsiteY70" fmla="*/ 1131605 h 2039827"/>
              <a:gd name="connsiteX71" fmla="*/ 2147244 w 2178135"/>
              <a:gd name="connsiteY71" fmla="*/ 1094535 h 2039827"/>
              <a:gd name="connsiteX72" fmla="*/ 2159600 w 2178135"/>
              <a:gd name="connsiteY72" fmla="*/ 1051286 h 2039827"/>
              <a:gd name="connsiteX73" fmla="*/ 2178135 w 2178135"/>
              <a:gd name="connsiteY73" fmla="*/ 1014216 h 2039827"/>
              <a:gd name="connsiteX74" fmla="*/ 2141065 w 2178135"/>
              <a:gd name="connsiteY74" fmla="*/ 903005 h 2039827"/>
              <a:gd name="connsiteX75" fmla="*/ 2110173 w 2178135"/>
              <a:gd name="connsiteY75" fmla="*/ 872113 h 2039827"/>
              <a:gd name="connsiteX76" fmla="*/ 2085460 w 2178135"/>
              <a:gd name="connsiteY76" fmla="*/ 791795 h 2039827"/>
              <a:gd name="connsiteX77" fmla="*/ 2073103 w 2178135"/>
              <a:gd name="connsiteY77" fmla="*/ 618800 h 2039827"/>
              <a:gd name="connsiteX78" fmla="*/ 2060746 w 2178135"/>
              <a:gd name="connsiteY78" fmla="*/ 519946 h 2039827"/>
              <a:gd name="connsiteX79" fmla="*/ 2042211 w 2178135"/>
              <a:gd name="connsiteY79" fmla="*/ 501411 h 2039827"/>
              <a:gd name="connsiteX80" fmla="*/ 1992784 w 2178135"/>
              <a:gd name="connsiteY80" fmla="*/ 526124 h 2039827"/>
              <a:gd name="connsiteX81" fmla="*/ 1881573 w 2178135"/>
              <a:gd name="connsiteY81" fmla="*/ 470519 h 2039827"/>
              <a:gd name="connsiteX82" fmla="*/ 1844503 w 2178135"/>
              <a:gd name="connsiteY82" fmla="*/ 470519 h 2039827"/>
              <a:gd name="connsiteX83" fmla="*/ 1776541 w 2178135"/>
              <a:gd name="connsiteY83" fmla="*/ 464340 h 2039827"/>
              <a:gd name="connsiteX84" fmla="*/ 1702400 w 2178135"/>
              <a:gd name="connsiteY84" fmla="*/ 519946 h 2039827"/>
              <a:gd name="connsiteX85" fmla="*/ 1640617 w 2178135"/>
              <a:gd name="connsiteY85" fmla="*/ 489054 h 2039827"/>
              <a:gd name="connsiteX86" fmla="*/ 1603546 w 2178135"/>
              <a:gd name="connsiteY86" fmla="*/ 501411 h 2039827"/>
              <a:gd name="connsiteX87" fmla="*/ 1603608 w 2178135"/>
              <a:gd name="connsiteY87" fmla="*/ 489288 h 2039827"/>
              <a:gd name="connsiteX88" fmla="*/ 1529406 w 2178135"/>
              <a:gd name="connsiteY88" fmla="*/ 495232 h 2039827"/>
              <a:gd name="connsiteX89" fmla="*/ 1498514 w 2178135"/>
              <a:gd name="connsiteY89" fmla="*/ 470519 h 2039827"/>
              <a:gd name="connsiteX90" fmla="*/ 1451525 w 2178135"/>
              <a:gd name="connsiteY90" fmla="*/ 481697 h 2039827"/>
              <a:gd name="connsiteX91" fmla="*/ 1372168 w 2178135"/>
              <a:gd name="connsiteY91" fmla="*/ 433707 h 2039827"/>
              <a:gd name="connsiteX92" fmla="*/ 1300806 w 2178135"/>
              <a:gd name="connsiteY92" fmla="*/ 451984 h 2039827"/>
              <a:gd name="connsiteX93" fmla="*/ 1269914 w 2178135"/>
              <a:gd name="connsiteY93" fmla="*/ 439627 h 2039827"/>
              <a:gd name="connsiteX94" fmla="*/ 1250011 w 2178135"/>
              <a:gd name="connsiteY94" fmla="*/ 432292 h 2039827"/>
              <a:gd name="connsiteX95" fmla="*/ 1220487 w 2178135"/>
              <a:gd name="connsiteY95" fmla="*/ 396378 h 2039827"/>
              <a:gd name="connsiteX96" fmla="*/ 1153535 w 2178135"/>
              <a:gd name="connsiteY96" fmla="*/ 390478 h 2039827"/>
              <a:gd name="connsiteX97" fmla="*/ 1115454 w 2178135"/>
              <a:gd name="connsiteY97" fmla="*/ 371665 h 2039827"/>
              <a:gd name="connsiteX98" fmla="*/ 1096919 w 2178135"/>
              <a:gd name="connsiteY98" fmla="*/ 371665 h 2039827"/>
              <a:gd name="connsiteX99" fmla="*/ 1084562 w 2178135"/>
              <a:gd name="connsiteY99" fmla="*/ 359308 h 2039827"/>
              <a:gd name="connsiteX100" fmla="*/ 1072206 w 2178135"/>
              <a:gd name="connsiteY100" fmla="*/ 353130 h 2039827"/>
              <a:gd name="connsiteX101" fmla="*/ 1077975 w 2178135"/>
              <a:gd name="connsiteY101" fmla="*/ 10936 h 2039827"/>
              <a:gd name="connsiteX102" fmla="*/ 608423 w 2178135"/>
              <a:gd name="connsiteY102" fmla="*/ 0 h 2039827"/>
              <a:gd name="connsiteX0" fmla="*/ 608423 w 2178135"/>
              <a:gd name="connsiteY0" fmla="*/ 0 h 2039827"/>
              <a:gd name="connsiteX1" fmla="*/ 590292 w 2178135"/>
              <a:gd name="connsiteY1" fmla="*/ 872113 h 2039827"/>
              <a:gd name="connsiteX2" fmla="*/ 6178 w 2178135"/>
              <a:gd name="connsiteY2" fmla="*/ 841299 h 2039827"/>
              <a:gd name="connsiteX3" fmla="*/ 0 w 2178135"/>
              <a:gd name="connsiteY3" fmla="*/ 880734 h 2039827"/>
              <a:gd name="connsiteX4" fmla="*/ 58952 w 2178135"/>
              <a:gd name="connsiteY4" fmla="*/ 921540 h 2039827"/>
              <a:gd name="connsiteX5" fmla="*/ 114557 w 2178135"/>
              <a:gd name="connsiteY5" fmla="*/ 989503 h 2039827"/>
              <a:gd name="connsiteX6" fmla="*/ 163984 w 2178135"/>
              <a:gd name="connsiteY6" fmla="*/ 1063643 h 2039827"/>
              <a:gd name="connsiteX7" fmla="*/ 213411 w 2178135"/>
              <a:gd name="connsiteY7" fmla="*/ 1076000 h 2039827"/>
              <a:gd name="connsiteX8" fmla="*/ 250481 w 2178135"/>
              <a:gd name="connsiteY8" fmla="*/ 1125427 h 2039827"/>
              <a:gd name="connsiteX9" fmla="*/ 281373 w 2178135"/>
              <a:gd name="connsiteY9" fmla="*/ 1174854 h 2039827"/>
              <a:gd name="connsiteX10" fmla="*/ 306087 w 2178135"/>
              <a:gd name="connsiteY10" fmla="*/ 1230459 h 2039827"/>
              <a:gd name="connsiteX11" fmla="*/ 318444 w 2178135"/>
              <a:gd name="connsiteY11" fmla="*/ 1304600 h 2039827"/>
              <a:gd name="connsiteX12" fmla="*/ 336979 w 2178135"/>
              <a:gd name="connsiteY12" fmla="*/ 1329313 h 2039827"/>
              <a:gd name="connsiteX13" fmla="*/ 442011 w 2178135"/>
              <a:gd name="connsiteY13" fmla="*/ 1409632 h 2039827"/>
              <a:gd name="connsiteX14" fmla="*/ 448190 w 2178135"/>
              <a:gd name="connsiteY14" fmla="*/ 1384919 h 2039827"/>
              <a:gd name="connsiteX15" fmla="*/ 584114 w 2178135"/>
              <a:gd name="connsiteY15" fmla="*/ 1452881 h 2039827"/>
              <a:gd name="connsiteX16" fmla="*/ 584114 w 2178135"/>
              <a:gd name="connsiteY16" fmla="*/ 1452881 h 2039827"/>
              <a:gd name="connsiteX17" fmla="*/ 615006 w 2178135"/>
              <a:gd name="connsiteY17" fmla="*/ 1397276 h 2039827"/>
              <a:gd name="connsiteX18" fmla="*/ 670611 w 2178135"/>
              <a:gd name="connsiteY18" fmla="*/ 1329313 h 2039827"/>
              <a:gd name="connsiteX19" fmla="*/ 738573 w 2178135"/>
              <a:gd name="connsiteY19" fmla="*/ 1310778 h 2039827"/>
              <a:gd name="connsiteX20" fmla="*/ 831249 w 2178135"/>
              <a:gd name="connsiteY20" fmla="*/ 1323135 h 2039827"/>
              <a:gd name="connsiteX21" fmla="*/ 911568 w 2178135"/>
              <a:gd name="connsiteY21" fmla="*/ 1384919 h 2039827"/>
              <a:gd name="connsiteX22" fmla="*/ 967173 w 2178135"/>
              <a:gd name="connsiteY22" fmla="*/ 1465238 h 2039827"/>
              <a:gd name="connsiteX23" fmla="*/ 1022779 w 2178135"/>
              <a:gd name="connsiteY23" fmla="*/ 1545557 h 2039827"/>
              <a:gd name="connsiteX24" fmla="*/ 1072206 w 2178135"/>
              <a:gd name="connsiteY24" fmla="*/ 1632054 h 2039827"/>
              <a:gd name="connsiteX25" fmla="*/ 1127811 w 2178135"/>
              <a:gd name="connsiteY25" fmla="*/ 1700016 h 2039827"/>
              <a:gd name="connsiteX26" fmla="*/ 1177238 w 2178135"/>
              <a:gd name="connsiteY26" fmla="*/ 1737086 h 2039827"/>
              <a:gd name="connsiteX27" fmla="*/ 1208130 w 2178135"/>
              <a:gd name="connsiteY27" fmla="*/ 1817405 h 2039827"/>
              <a:gd name="connsiteX28" fmla="*/ 1232844 w 2178135"/>
              <a:gd name="connsiteY28" fmla="*/ 1879189 h 2039827"/>
              <a:gd name="connsiteX29" fmla="*/ 1257557 w 2178135"/>
              <a:gd name="connsiteY29" fmla="*/ 1940973 h 2039827"/>
              <a:gd name="connsiteX30" fmla="*/ 1288449 w 2178135"/>
              <a:gd name="connsiteY30" fmla="*/ 1984222 h 2039827"/>
              <a:gd name="connsiteX31" fmla="*/ 1350233 w 2178135"/>
              <a:gd name="connsiteY31" fmla="*/ 2008935 h 2039827"/>
              <a:gd name="connsiteX32" fmla="*/ 1449087 w 2178135"/>
              <a:gd name="connsiteY32" fmla="*/ 2027470 h 2039827"/>
              <a:gd name="connsiteX33" fmla="*/ 1523227 w 2178135"/>
              <a:gd name="connsiteY33" fmla="*/ 2039827 h 2039827"/>
              <a:gd name="connsiteX34" fmla="*/ 1615903 w 2178135"/>
              <a:gd name="connsiteY34" fmla="*/ 2039827 h 2039827"/>
              <a:gd name="connsiteX35" fmla="*/ 1597368 w 2178135"/>
              <a:gd name="connsiteY35" fmla="*/ 2027470 h 2039827"/>
              <a:gd name="connsiteX36" fmla="*/ 1597368 w 2178135"/>
              <a:gd name="connsiteY36" fmla="*/ 2027470 h 2039827"/>
              <a:gd name="connsiteX37" fmla="*/ 1585011 w 2178135"/>
              <a:gd name="connsiteY37" fmla="*/ 1959508 h 2039827"/>
              <a:gd name="connsiteX38" fmla="*/ 1560298 w 2178135"/>
              <a:gd name="connsiteY38" fmla="*/ 1928616 h 2039827"/>
              <a:gd name="connsiteX39" fmla="*/ 1554119 w 2178135"/>
              <a:gd name="connsiteY39" fmla="*/ 1891546 h 2039827"/>
              <a:gd name="connsiteX40" fmla="*/ 1535584 w 2178135"/>
              <a:gd name="connsiteY40" fmla="*/ 1848297 h 2039827"/>
              <a:gd name="connsiteX41" fmla="*/ 1547941 w 2178135"/>
              <a:gd name="connsiteY41" fmla="*/ 1817405 h 2039827"/>
              <a:gd name="connsiteX42" fmla="*/ 1541762 w 2178135"/>
              <a:gd name="connsiteY42" fmla="*/ 1798870 h 2039827"/>
              <a:gd name="connsiteX43" fmla="*/ 1498514 w 2178135"/>
              <a:gd name="connsiteY43" fmla="*/ 1774157 h 2039827"/>
              <a:gd name="connsiteX44" fmla="*/ 1547941 w 2178135"/>
              <a:gd name="connsiteY44" fmla="*/ 1743265 h 2039827"/>
              <a:gd name="connsiteX45" fmla="*/ 1554119 w 2178135"/>
              <a:gd name="connsiteY45" fmla="*/ 1730908 h 2039827"/>
              <a:gd name="connsiteX46" fmla="*/ 1560298 w 2178135"/>
              <a:gd name="connsiteY46" fmla="*/ 1700016 h 2039827"/>
              <a:gd name="connsiteX47" fmla="*/ 1535584 w 2178135"/>
              <a:gd name="connsiteY47" fmla="*/ 1669124 h 2039827"/>
              <a:gd name="connsiteX48" fmla="*/ 1560298 w 2178135"/>
              <a:gd name="connsiteY48" fmla="*/ 1669124 h 2039827"/>
              <a:gd name="connsiteX49" fmla="*/ 1585011 w 2178135"/>
              <a:gd name="connsiteY49" fmla="*/ 1650589 h 2039827"/>
              <a:gd name="connsiteX50" fmla="*/ 1560298 w 2178135"/>
              <a:gd name="connsiteY50" fmla="*/ 1594984 h 2039827"/>
              <a:gd name="connsiteX51" fmla="*/ 1560298 w 2178135"/>
              <a:gd name="connsiteY51" fmla="*/ 1594984 h 2039827"/>
              <a:gd name="connsiteX52" fmla="*/ 1628260 w 2178135"/>
              <a:gd name="connsiteY52" fmla="*/ 1594984 h 2039827"/>
              <a:gd name="connsiteX53" fmla="*/ 1640617 w 2178135"/>
              <a:gd name="connsiteY53" fmla="*/ 1582627 h 2039827"/>
              <a:gd name="connsiteX54" fmla="*/ 1659152 w 2178135"/>
              <a:gd name="connsiteY54" fmla="*/ 1533200 h 2039827"/>
              <a:gd name="connsiteX55" fmla="*/ 1696222 w 2178135"/>
              <a:gd name="connsiteY55" fmla="*/ 1533200 h 2039827"/>
              <a:gd name="connsiteX56" fmla="*/ 1714757 w 2178135"/>
              <a:gd name="connsiteY56" fmla="*/ 1533200 h 2039827"/>
              <a:gd name="connsiteX57" fmla="*/ 1714757 w 2178135"/>
              <a:gd name="connsiteY57" fmla="*/ 1502308 h 2039827"/>
              <a:gd name="connsiteX58" fmla="*/ 1708579 w 2178135"/>
              <a:gd name="connsiteY58" fmla="*/ 1483773 h 2039827"/>
              <a:gd name="connsiteX59" fmla="*/ 1708579 w 2178135"/>
              <a:gd name="connsiteY59" fmla="*/ 1483773 h 2039827"/>
              <a:gd name="connsiteX60" fmla="*/ 1782719 w 2178135"/>
              <a:gd name="connsiteY60" fmla="*/ 1489951 h 2039827"/>
              <a:gd name="connsiteX61" fmla="*/ 1844503 w 2178135"/>
              <a:gd name="connsiteY61" fmla="*/ 1477595 h 2039827"/>
              <a:gd name="connsiteX62" fmla="*/ 1906287 w 2178135"/>
              <a:gd name="connsiteY62" fmla="*/ 1421989 h 2039827"/>
              <a:gd name="connsiteX63" fmla="*/ 1906287 w 2178135"/>
              <a:gd name="connsiteY63" fmla="*/ 1378740 h 2039827"/>
              <a:gd name="connsiteX64" fmla="*/ 1955714 w 2178135"/>
              <a:gd name="connsiteY64" fmla="*/ 1347849 h 2039827"/>
              <a:gd name="connsiteX65" fmla="*/ 1949535 w 2178135"/>
              <a:gd name="connsiteY65" fmla="*/ 1286065 h 2039827"/>
              <a:gd name="connsiteX66" fmla="*/ 1992784 w 2178135"/>
              <a:gd name="connsiteY66" fmla="*/ 1267530 h 2039827"/>
              <a:gd name="connsiteX67" fmla="*/ 2017498 w 2178135"/>
              <a:gd name="connsiteY67" fmla="*/ 1329313 h 2039827"/>
              <a:gd name="connsiteX68" fmla="*/ 2153422 w 2178135"/>
              <a:gd name="connsiteY68" fmla="*/ 1255173 h 2039827"/>
              <a:gd name="connsiteX69" fmla="*/ 2165779 w 2178135"/>
              <a:gd name="connsiteY69" fmla="*/ 1168676 h 2039827"/>
              <a:gd name="connsiteX70" fmla="*/ 2153422 w 2178135"/>
              <a:gd name="connsiteY70" fmla="*/ 1131605 h 2039827"/>
              <a:gd name="connsiteX71" fmla="*/ 2147244 w 2178135"/>
              <a:gd name="connsiteY71" fmla="*/ 1094535 h 2039827"/>
              <a:gd name="connsiteX72" fmla="*/ 2159600 w 2178135"/>
              <a:gd name="connsiteY72" fmla="*/ 1051286 h 2039827"/>
              <a:gd name="connsiteX73" fmla="*/ 2178135 w 2178135"/>
              <a:gd name="connsiteY73" fmla="*/ 1014216 h 2039827"/>
              <a:gd name="connsiteX74" fmla="*/ 2141065 w 2178135"/>
              <a:gd name="connsiteY74" fmla="*/ 903005 h 2039827"/>
              <a:gd name="connsiteX75" fmla="*/ 2110173 w 2178135"/>
              <a:gd name="connsiteY75" fmla="*/ 872113 h 2039827"/>
              <a:gd name="connsiteX76" fmla="*/ 2085460 w 2178135"/>
              <a:gd name="connsiteY76" fmla="*/ 791795 h 2039827"/>
              <a:gd name="connsiteX77" fmla="*/ 2073103 w 2178135"/>
              <a:gd name="connsiteY77" fmla="*/ 618800 h 2039827"/>
              <a:gd name="connsiteX78" fmla="*/ 2060746 w 2178135"/>
              <a:gd name="connsiteY78" fmla="*/ 519946 h 2039827"/>
              <a:gd name="connsiteX79" fmla="*/ 2042211 w 2178135"/>
              <a:gd name="connsiteY79" fmla="*/ 501411 h 2039827"/>
              <a:gd name="connsiteX80" fmla="*/ 1992784 w 2178135"/>
              <a:gd name="connsiteY80" fmla="*/ 526124 h 2039827"/>
              <a:gd name="connsiteX81" fmla="*/ 1884028 w 2178135"/>
              <a:gd name="connsiteY81" fmla="*/ 453649 h 2039827"/>
              <a:gd name="connsiteX82" fmla="*/ 1844503 w 2178135"/>
              <a:gd name="connsiteY82" fmla="*/ 470519 h 2039827"/>
              <a:gd name="connsiteX83" fmla="*/ 1776541 w 2178135"/>
              <a:gd name="connsiteY83" fmla="*/ 464340 h 2039827"/>
              <a:gd name="connsiteX84" fmla="*/ 1702400 w 2178135"/>
              <a:gd name="connsiteY84" fmla="*/ 519946 h 2039827"/>
              <a:gd name="connsiteX85" fmla="*/ 1640617 w 2178135"/>
              <a:gd name="connsiteY85" fmla="*/ 489054 h 2039827"/>
              <a:gd name="connsiteX86" fmla="*/ 1603546 w 2178135"/>
              <a:gd name="connsiteY86" fmla="*/ 501411 h 2039827"/>
              <a:gd name="connsiteX87" fmla="*/ 1603608 w 2178135"/>
              <a:gd name="connsiteY87" fmla="*/ 489288 h 2039827"/>
              <a:gd name="connsiteX88" fmla="*/ 1529406 w 2178135"/>
              <a:gd name="connsiteY88" fmla="*/ 495232 h 2039827"/>
              <a:gd name="connsiteX89" fmla="*/ 1498514 w 2178135"/>
              <a:gd name="connsiteY89" fmla="*/ 470519 h 2039827"/>
              <a:gd name="connsiteX90" fmla="*/ 1451525 w 2178135"/>
              <a:gd name="connsiteY90" fmla="*/ 481697 h 2039827"/>
              <a:gd name="connsiteX91" fmla="*/ 1372168 w 2178135"/>
              <a:gd name="connsiteY91" fmla="*/ 433707 h 2039827"/>
              <a:gd name="connsiteX92" fmla="*/ 1300806 w 2178135"/>
              <a:gd name="connsiteY92" fmla="*/ 451984 h 2039827"/>
              <a:gd name="connsiteX93" fmla="*/ 1269914 w 2178135"/>
              <a:gd name="connsiteY93" fmla="*/ 439627 h 2039827"/>
              <a:gd name="connsiteX94" fmla="*/ 1250011 w 2178135"/>
              <a:gd name="connsiteY94" fmla="*/ 432292 h 2039827"/>
              <a:gd name="connsiteX95" fmla="*/ 1220487 w 2178135"/>
              <a:gd name="connsiteY95" fmla="*/ 396378 h 2039827"/>
              <a:gd name="connsiteX96" fmla="*/ 1153535 w 2178135"/>
              <a:gd name="connsiteY96" fmla="*/ 390478 h 2039827"/>
              <a:gd name="connsiteX97" fmla="*/ 1115454 w 2178135"/>
              <a:gd name="connsiteY97" fmla="*/ 371665 h 2039827"/>
              <a:gd name="connsiteX98" fmla="*/ 1096919 w 2178135"/>
              <a:gd name="connsiteY98" fmla="*/ 371665 h 2039827"/>
              <a:gd name="connsiteX99" fmla="*/ 1084562 w 2178135"/>
              <a:gd name="connsiteY99" fmla="*/ 359308 h 2039827"/>
              <a:gd name="connsiteX100" fmla="*/ 1072206 w 2178135"/>
              <a:gd name="connsiteY100" fmla="*/ 353130 h 2039827"/>
              <a:gd name="connsiteX101" fmla="*/ 1077975 w 2178135"/>
              <a:gd name="connsiteY101" fmla="*/ 10936 h 2039827"/>
              <a:gd name="connsiteX102" fmla="*/ 608423 w 2178135"/>
              <a:gd name="connsiteY102" fmla="*/ 0 h 2039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2178135" h="2039827">
                <a:moveTo>
                  <a:pt x="608423" y="0"/>
                </a:moveTo>
                <a:cubicBezTo>
                  <a:pt x="606363" y="288324"/>
                  <a:pt x="592352" y="583789"/>
                  <a:pt x="590292" y="872113"/>
                </a:cubicBezTo>
                <a:lnTo>
                  <a:pt x="6178" y="841299"/>
                </a:lnTo>
                <a:lnTo>
                  <a:pt x="0" y="880734"/>
                </a:lnTo>
                <a:lnTo>
                  <a:pt x="58952" y="921540"/>
                </a:lnTo>
                <a:lnTo>
                  <a:pt x="114557" y="989503"/>
                </a:lnTo>
                <a:lnTo>
                  <a:pt x="163984" y="1063643"/>
                </a:lnTo>
                <a:lnTo>
                  <a:pt x="213411" y="1076000"/>
                </a:lnTo>
                <a:lnTo>
                  <a:pt x="250481" y="1125427"/>
                </a:lnTo>
                <a:lnTo>
                  <a:pt x="281373" y="1174854"/>
                </a:lnTo>
                <a:lnTo>
                  <a:pt x="306087" y="1230459"/>
                </a:lnTo>
                <a:lnTo>
                  <a:pt x="318444" y="1304600"/>
                </a:lnTo>
                <a:lnTo>
                  <a:pt x="336979" y="1329313"/>
                </a:lnTo>
                <a:lnTo>
                  <a:pt x="442011" y="1409632"/>
                </a:lnTo>
                <a:lnTo>
                  <a:pt x="448190" y="1384919"/>
                </a:lnTo>
                <a:lnTo>
                  <a:pt x="584114" y="1452881"/>
                </a:lnTo>
                <a:lnTo>
                  <a:pt x="584114" y="1452881"/>
                </a:lnTo>
                <a:lnTo>
                  <a:pt x="615006" y="1397276"/>
                </a:lnTo>
                <a:lnTo>
                  <a:pt x="670611" y="1329313"/>
                </a:lnTo>
                <a:lnTo>
                  <a:pt x="738573" y="1310778"/>
                </a:lnTo>
                <a:lnTo>
                  <a:pt x="831249" y="1323135"/>
                </a:lnTo>
                <a:lnTo>
                  <a:pt x="911568" y="1384919"/>
                </a:lnTo>
                <a:lnTo>
                  <a:pt x="967173" y="1465238"/>
                </a:lnTo>
                <a:lnTo>
                  <a:pt x="1022779" y="1545557"/>
                </a:lnTo>
                <a:lnTo>
                  <a:pt x="1072206" y="1632054"/>
                </a:lnTo>
                <a:lnTo>
                  <a:pt x="1127811" y="1700016"/>
                </a:lnTo>
                <a:lnTo>
                  <a:pt x="1177238" y="1737086"/>
                </a:lnTo>
                <a:lnTo>
                  <a:pt x="1208130" y="1817405"/>
                </a:lnTo>
                <a:lnTo>
                  <a:pt x="1232844" y="1879189"/>
                </a:lnTo>
                <a:lnTo>
                  <a:pt x="1257557" y="1940973"/>
                </a:lnTo>
                <a:lnTo>
                  <a:pt x="1288449" y="1984222"/>
                </a:lnTo>
                <a:lnTo>
                  <a:pt x="1350233" y="2008935"/>
                </a:lnTo>
                <a:lnTo>
                  <a:pt x="1449087" y="2027470"/>
                </a:lnTo>
                <a:lnTo>
                  <a:pt x="1523227" y="2039827"/>
                </a:lnTo>
                <a:lnTo>
                  <a:pt x="1615903" y="2039827"/>
                </a:lnTo>
                <a:lnTo>
                  <a:pt x="1597368" y="2027470"/>
                </a:lnTo>
                <a:lnTo>
                  <a:pt x="1597368" y="2027470"/>
                </a:lnTo>
                <a:lnTo>
                  <a:pt x="1585011" y="1959508"/>
                </a:lnTo>
                <a:lnTo>
                  <a:pt x="1560298" y="1928616"/>
                </a:lnTo>
                <a:lnTo>
                  <a:pt x="1554119" y="1891546"/>
                </a:lnTo>
                <a:lnTo>
                  <a:pt x="1535584" y="1848297"/>
                </a:lnTo>
                <a:lnTo>
                  <a:pt x="1547941" y="1817405"/>
                </a:lnTo>
                <a:lnTo>
                  <a:pt x="1541762" y="1798870"/>
                </a:lnTo>
                <a:lnTo>
                  <a:pt x="1498514" y="1774157"/>
                </a:lnTo>
                <a:lnTo>
                  <a:pt x="1547941" y="1743265"/>
                </a:lnTo>
                <a:lnTo>
                  <a:pt x="1554119" y="1730908"/>
                </a:lnTo>
                <a:lnTo>
                  <a:pt x="1560298" y="1700016"/>
                </a:lnTo>
                <a:lnTo>
                  <a:pt x="1535584" y="1669124"/>
                </a:lnTo>
                <a:lnTo>
                  <a:pt x="1560298" y="1669124"/>
                </a:lnTo>
                <a:lnTo>
                  <a:pt x="1585011" y="1650589"/>
                </a:lnTo>
                <a:lnTo>
                  <a:pt x="1560298" y="1594984"/>
                </a:lnTo>
                <a:lnTo>
                  <a:pt x="1560298" y="1594984"/>
                </a:lnTo>
                <a:lnTo>
                  <a:pt x="1628260" y="1594984"/>
                </a:lnTo>
                <a:lnTo>
                  <a:pt x="1640617" y="1582627"/>
                </a:lnTo>
                <a:lnTo>
                  <a:pt x="1659152" y="1533200"/>
                </a:lnTo>
                <a:lnTo>
                  <a:pt x="1696222" y="1533200"/>
                </a:lnTo>
                <a:lnTo>
                  <a:pt x="1714757" y="1533200"/>
                </a:lnTo>
                <a:lnTo>
                  <a:pt x="1714757" y="1502308"/>
                </a:lnTo>
                <a:lnTo>
                  <a:pt x="1708579" y="1483773"/>
                </a:lnTo>
                <a:lnTo>
                  <a:pt x="1708579" y="1483773"/>
                </a:lnTo>
                <a:lnTo>
                  <a:pt x="1782719" y="1489951"/>
                </a:lnTo>
                <a:lnTo>
                  <a:pt x="1844503" y="1477595"/>
                </a:lnTo>
                <a:lnTo>
                  <a:pt x="1906287" y="1421989"/>
                </a:lnTo>
                <a:lnTo>
                  <a:pt x="1906287" y="1378740"/>
                </a:lnTo>
                <a:lnTo>
                  <a:pt x="1955714" y="1347849"/>
                </a:lnTo>
                <a:lnTo>
                  <a:pt x="1949535" y="1286065"/>
                </a:lnTo>
                <a:lnTo>
                  <a:pt x="1992784" y="1267530"/>
                </a:lnTo>
                <a:lnTo>
                  <a:pt x="2017498" y="1329313"/>
                </a:lnTo>
                <a:lnTo>
                  <a:pt x="2153422" y="1255173"/>
                </a:lnTo>
                <a:lnTo>
                  <a:pt x="2165779" y="1168676"/>
                </a:lnTo>
                <a:lnTo>
                  <a:pt x="2153422" y="1131605"/>
                </a:lnTo>
                <a:lnTo>
                  <a:pt x="2147244" y="1094535"/>
                </a:lnTo>
                <a:lnTo>
                  <a:pt x="2159600" y="1051286"/>
                </a:lnTo>
                <a:lnTo>
                  <a:pt x="2178135" y="1014216"/>
                </a:lnTo>
                <a:lnTo>
                  <a:pt x="2141065" y="903005"/>
                </a:lnTo>
                <a:lnTo>
                  <a:pt x="2110173" y="872113"/>
                </a:lnTo>
                <a:lnTo>
                  <a:pt x="2085460" y="791795"/>
                </a:lnTo>
                <a:lnTo>
                  <a:pt x="2073103" y="618800"/>
                </a:lnTo>
                <a:lnTo>
                  <a:pt x="2060746" y="519946"/>
                </a:lnTo>
                <a:lnTo>
                  <a:pt x="2042211" y="501411"/>
                </a:lnTo>
                <a:lnTo>
                  <a:pt x="1992784" y="526124"/>
                </a:lnTo>
                <a:lnTo>
                  <a:pt x="1884028" y="453649"/>
                </a:lnTo>
                <a:lnTo>
                  <a:pt x="1844503" y="470519"/>
                </a:lnTo>
                <a:lnTo>
                  <a:pt x="1776541" y="464340"/>
                </a:lnTo>
                <a:lnTo>
                  <a:pt x="1702400" y="519946"/>
                </a:lnTo>
                <a:lnTo>
                  <a:pt x="1640617" y="489054"/>
                </a:lnTo>
                <a:lnTo>
                  <a:pt x="1603546" y="501411"/>
                </a:lnTo>
                <a:cubicBezTo>
                  <a:pt x="1603567" y="497370"/>
                  <a:pt x="1603587" y="493329"/>
                  <a:pt x="1603608" y="489288"/>
                </a:cubicBezTo>
                <a:lnTo>
                  <a:pt x="1529406" y="495232"/>
                </a:lnTo>
                <a:lnTo>
                  <a:pt x="1498514" y="470519"/>
                </a:lnTo>
                <a:lnTo>
                  <a:pt x="1451525" y="481697"/>
                </a:lnTo>
                <a:lnTo>
                  <a:pt x="1372168" y="433707"/>
                </a:lnTo>
                <a:lnTo>
                  <a:pt x="1300806" y="451984"/>
                </a:lnTo>
                <a:lnTo>
                  <a:pt x="1269914" y="439627"/>
                </a:lnTo>
                <a:lnTo>
                  <a:pt x="1250011" y="432292"/>
                </a:lnTo>
                <a:lnTo>
                  <a:pt x="1220487" y="396378"/>
                </a:lnTo>
                <a:lnTo>
                  <a:pt x="1153535" y="390478"/>
                </a:lnTo>
                <a:lnTo>
                  <a:pt x="1115454" y="371665"/>
                </a:lnTo>
                <a:lnTo>
                  <a:pt x="1096919" y="371665"/>
                </a:lnTo>
                <a:lnTo>
                  <a:pt x="1084562" y="359308"/>
                </a:lnTo>
                <a:lnTo>
                  <a:pt x="1072206" y="353130"/>
                </a:lnTo>
                <a:lnTo>
                  <a:pt x="1077975" y="10936"/>
                </a:lnTo>
                <a:lnTo>
                  <a:pt x="60842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841233" y="2843761"/>
            <a:ext cx="1288646" cy="2059746"/>
          </a:xfrm>
          <a:custGeom>
            <a:avLst/>
            <a:gdLst>
              <a:gd name="connsiteX0" fmla="*/ 99753 w 1313411"/>
              <a:gd name="connsiteY0" fmla="*/ 0 h 2116975"/>
              <a:gd name="connsiteX1" fmla="*/ 99753 w 1313411"/>
              <a:gd name="connsiteY1" fmla="*/ 60960 h 2116975"/>
              <a:gd name="connsiteX2" fmla="*/ 94211 w 1313411"/>
              <a:gd name="connsiteY2" fmla="*/ 99753 h 2116975"/>
              <a:gd name="connsiteX3" fmla="*/ 72043 w 1313411"/>
              <a:gd name="connsiteY3" fmla="*/ 138545 h 2116975"/>
              <a:gd name="connsiteX4" fmla="*/ 83127 w 1313411"/>
              <a:gd name="connsiteY4" fmla="*/ 193964 h 2116975"/>
              <a:gd name="connsiteX5" fmla="*/ 0 w 1313411"/>
              <a:gd name="connsiteY5" fmla="*/ 254924 h 2116975"/>
              <a:gd name="connsiteX6" fmla="*/ 0 w 1313411"/>
              <a:gd name="connsiteY6" fmla="*/ 299258 h 2116975"/>
              <a:gd name="connsiteX7" fmla="*/ 38793 w 1313411"/>
              <a:gd name="connsiteY7" fmla="*/ 387927 h 2116975"/>
              <a:gd name="connsiteX8" fmla="*/ 38793 w 1313411"/>
              <a:gd name="connsiteY8" fmla="*/ 426720 h 2116975"/>
              <a:gd name="connsiteX9" fmla="*/ 22167 w 1313411"/>
              <a:gd name="connsiteY9" fmla="*/ 576349 h 2116975"/>
              <a:gd name="connsiteX10" fmla="*/ 49876 w 1313411"/>
              <a:gd name="connsiteY10" fmla="*/ 670560 h 2116975"/>
              <a:gd name="connsiteX11" fmla="*/ 77585 w 1313411"/>
              <a:gd name="connsiteY11" fmla="*/ 703811 h 2116975"/>
              <a:gd name="connsiteX12" fmla="*/ 83127 w 1313411"/>
              <a:gd name="connsiteY12" fmla="*/ 742604 h 2116975"/>
              <a:gd name="connsiteX13" fmla="*/ 72043 w 1313411"/>
              <a:gd name="connsiteY13" fmla="*/ 814647 h 2116975"/>
              <a:gd name="connsiteX14" fmla="*/ 121920 w 1313411"/>
              <a:gd name="connsiteY14" fmla="*/ 825731 h 2116975"/>
              <a:gd name="connsiteX15" fmla="*/ 144087 w 1313411"/>
              <a:gd name="connsiteY15" fmla="*/ 825731 h 2116975"/>
              <a:gd name="connsiteX16" fmla="*/ 166254 w 1313411"/>
              <a:gd name="connsiteY16" fmla="*/ 792480 h 2116975"/>
              <a:gd name="connsiteX17" fmla="*/ 182880 w 1313411"/>
              <a:gd name="connsiteY17" fmla="*/ 781396 h 2116975"/>
              <a:gd name="connsiteX18" fmla="*/ 193963 w 1313411"/>
              <a:gd name="connsiteY18" fmla="*/ 825731 h 2116975"/>
              <a:gd name="connsiteX19" fmla="*/ 188422 w 1313411"/>
              <a:gd name="connsiteY19" fmla="*/ 875607 h 2116975"/>
              <a:gd name="connsiteX20" fmla="*/ 182880 w 1313411"/>
              <a:gd name="connsiteY20" fmla="*/ 892233 h 2116975"/>
              <a:gd name="connsiteX21" fmla="*/ 149629 w 1313411"/>
              <a:gd name="connsiteY21" fmla="*/ 886691 h 2116975"/>
              <a:gd name="connsiteX22" fmla="*/ 133003 w 1313411"/>
              <a:gd name="connsiteY22" fmla="*/ 942109 h 2116975"/>
              <a:gd name="connsiteX23" fmla="*/ 144087 w 1313411"/>
              <a:gd name="connsiteY23" fmla="*/ 997527 h 2116975"/>
              <a:gd name="connsiteX24" fmla="*/ 171796 w 1313411"/>
              <a:gd name="connsiteY24" fmla="*/ 1025236 h 2116975"/>
              <a:gd name="connsiteX25" fmla="*/ 205047 w 1313411"/>
              <a:gd name="connsiteY25" fmla="*/ 1064029 h 2116975"/>
              <a:gd name="connsiteX26" fmla="*/ 205047 w 1313411"/>
              <a:gd name="connsiteY26" fmla="*/ 1102822 h 2116975"/>
              <a:gd name="connsiteX27" fmla="*/ 182880 w 1313411"/>
              <a:gd name="connsiteY27" fmla="*/ 1119447 h 2116975"/>
              <a:gd name="connsiteX28" fmla="*/ 182880 w 1313411"/>
              <a:gd name="connsiteY28" fmla="*/ 1119447 h 2116975"/>
              <a:gd name="connsiteX29" fmla="*/ 238298 w 1313411"/>
              <a:gd name="connsiteY29" fmla="*/ 1230284 h 2116975"/>
              <a:gd name="connsiteX30" fmla="*/ 249382 w 1313411"/>
              <a:gd name="connsiteY30" fmla="*/ 1318953 h 2116975"/>
              <a:gd name="connsiteX31" fmla="*/ 282633 w 1313411"/>
              <a:gd name="connsiteY31" fmla="*/ 1341120 h 2116975"/>
              <a:gd name="connsiteX32" fmla="*/ 282633 w 1313411"/>
              <a:gd name="connsiteY32" fmla="*/ 1341120 h 2116975"/>
              <a:gd name="connsiteX33" fmla="*/ 304800 w 1313411"/>
              <a:gd name="connsiteY33" fmla="*/ 1390996 h 2116975"/>
              <a:gd name="connsiteX34" fmla="*/ 321425 w 1313411"/>
              <a:gd name="connsiteY34" fmla="*/ 1418705 h 2116975"/>
              <a:gd name="connsiteX35" fmla="*/ 326967 w 1313411"/>
              <a:gd name="connsiteY35" fmla="*/ 1463040 h 2116975"/>
              <a:gd name="connsiteX36" fmla="*/ 299258 w 1313411"/>
              <a:gd name="connsiteY36" fmla="*/ 1507375 h 2116975"/>
              <a:gd name="connsiteX37" fmla="*/ 315883 w 1313411"/>
              <a:gd name="connsiteY37" fmla="*/ 1546167 h 2116975"/>
              <a:gd name="connsiteX38" fmla="*/ 410094 w 1313411"/>
              <a:gd name="connsiteY38" fmla="*/ 1612669 h 2116975"/>
              <a:gd name="connsiteX39" fmla="*/ 459971 w 1313411"/>
              <a:gd name="connsiteY39" fmla="*/ 1623753 h 2116975"/>
              <a:gd name="connsiteX40" fmla="*/ 465513 w 1313411"/>
              <a:gd name="connsiteY40" fmla="*/ 1607127 h 2116975"/>
              <a:gd name="connsiteX41" fmla="*/ 465513 w 1313411"/>
              <a:gd name="connsiteY41" fmla="*/ 1607127 h 2116975"/>
              <a:gd name="connsiteX42" fmla="*/ 543098 w 1313411"/>
              <a:gd name="connsiteY42" fmla="*/ 1712422 h 2116975"/>
              <a:gd name="connsiteX43" fmla="*/ 604058 w 1313411"/>
              <a:gd name="connsiteY43" fmla="*/ 1734589 h 2116975"/>
              <a:gd name="connsiteX44" fmla="*/ 604058 w 1313411"/>
              <a:gd name="connsiteY44" fmla="*/ 1734589 h 2116975"/>
              <a:gd name="connsiteX45" fmla="*/ 642851 w 1313411"/>
              <a:gd name="connsiteY45" fmla="*/ 1795549 h 2116975"/>
              <a:gd name="connsiteX46" fmla="*/ 703811 w 1313411"/>
              <a:gd name="connsiteY46" fmla="*/ 1834342 h 2116975"/>
              <a:gd name="connsiteX47" fmla="*/ 775854 w 1313411"/>
              <a:gd name="connsiteY47" fmla="*/ 1923011 h 2116975"/>
              <a:gd name="connsiteX48" fmla="*/ 786938 w 1313411"/>
              <a:gd name="connsiteY48" fmla="*/ 2017222 h 2116975"/>
              <a:gd name="connsiteX49" fmla="*/ 803563 w 1313411"/>
              <a:gd name="connsiteY49" fmla="*/ 2050473 h 2116975"/>
              <a:gd name="connsiteX50" fmla="*/ 809105 w 1313411"/>
              <a:gd name="connsiteY50" fmla="*/ 2083724 h 2116975"/>
              <a:gd name="connsiteX51" fmla="*/ 1197033 w 1313411"/>
              <a:gd name="connsiteY51" fmla="*/ 2116975 h 2116975"/>
              <a:gd name="connsiteX52" fmla="*/ 1230283 w 1313411"/>
              <a:gd name="connsiteY52" fmla="*/ 2089265 h 2116975"/>
              <a:gd name="connsiteX53" fmla="*/ 1213658 w 1313411"/>
              <a:gd name="connsiteY53" fmla="*/ 2011680 h 2116975"/>
              <a:gd name="connsiteX54" fmla="*/ 1263534 w 1313411"/>
              <a:gd name="connsiteY54" fmla="*/ 1906385 h 2116975"/>
              <a:gd name="connsiteX55" fmla="*/ 1285702 w 1313411"/>
              <a:gd name="connsiteY55" fmla="*/ 1867593 h 2116975"/>
              <a:gd name="connsiteX56" fmla="*/ 1313411 w 1313411"/>
              <a:gd name="connsiteY56" fmla="*/ 1806633 h 2116975"/>
              <a:gd name="connsiteX57" fmla="*/ 1252451 w 1313411"/>
              <a:gd name="connsiteY57" fmla="*/ 1657004 h 2116975"/>
              <a:gd name="connsiteX58" fmla="*/ 576349 w 1313411"/>
              <a:gd name="connsiteY58" fmla="*/ 714895 h 2116975"/>
              <a:gd name="connsiteX59" fmla="*/ 687185 w 1313411"/>
              <a:gd name="connsiteY59" fmla="*/ 177338 h 2116975"/>
              <a:gd name="connsiteX60" fmla="*/ 99753 w 1313411"/>
              <a:gd name="connsiteY60" fmla="*/ 0 h 2116975"/>
              <a:gd name="connsiteX0" fmla="*/ 99753 w 1313411"/>
              <a:gd name="connsiteY0" fmla="*/ 0 h 2116975"/>
              <a:gd name="connsiteX1" fmla="*/ 99753 w 1313411"/>
              <a:gd name="connsiteY1" fmla="*/ 60960 h 2116975"/>
              <a:gd name="connsiteX2" fmla="*/ 94211 w 1313411"/>
              <a:gd name="connsiteY2" fmla="*/ 99753 h 2116975"/>
              <a:gd name="connsiteX3" fmla="*/ 72043 w 1313411"/>
              <a:gd name="connsiteY3" fmla="*/ 138545 h 2116975"/>
              <a:gd name="connsiteX4" fmla="*/ 83127 w 1313411"/>
              <a:gd name="connsiteY4" fmla="*/ 193964 h 2116975"/>
              <a:gd name="connsiteX5" fmla="*/ 0 w 1313411"/>
              <a:gd name="connsiteY5" fmla="*/ 254924 h 2116975"/>
              <a:gd name="connsiteX6" fmla="*/ 0 w 1313411"/>
              <a:gd name="connsiteY6" fmla="*/ 299258 h 2116975"/>
              <a:gd name="connsiteX7" fmla="*/ 38793 w 1313411"/>
              <a:gd name="connsiteY7" fmla="*/ 387927 h 2116975"/>
              <a:gd name="connsiteX8" fmla="*/ 38793 w 1313411"/>
              <a:gd name="connsiteY8" fmla="*/ 426720 h 2116975"/>
              <a:gd name="connsiteX9" fmla="*/ 22167 w 1313411"/>
              <a:gd name="connsiteY9" fmla="*/ 576349 h 2116975"/>
              <a:gd name="connsiteX10" fmla="*/ 49876 w 1313411"/>
              <a:gd name="connsiteY10" fmla="*/ 670560 h 2116975"/>
              <a:gd name="connsiteX11" fmla="*/ 77585 w 1313411"/>
              <a:gd name="connsiteY11" fmla="*/ 703811 h 2116975"/>
              <a:gd name="connsiteX12" fmla="*/ 83127 w 1313411"/>
              <a:gd name="connsiteY12" fmla="*/ 742604 h 2116975"/>
              <a:gd name="connsiteX13" fmla="*/ 72043 w 1313411"/>
              <a:gd name="connsiteY13" fmla="*/ 814647 h 2116975"/>
              <a:gd name="connsiteX14" fmla="*/ 121920 w 1313411"/>
              <a:gd name="connsiteY14" fmla="*/ 825731 h 2116975"/>
              <a:gd name="connsiteX15" fmla="*/ 144087 w 1313411"/>
              <a:gd name="connsiteY15" fmla="*/ 825731 h 2116975"/>
              <a:gd name="connsiteX16" fmla="*/ 166254 w 1313411"/>
              <a:gd name="connsiteY16" fmla="*/ 792480 h 2116975"/>
              <a:gd name="connsiteX17" fmla="*/ 182880 w 1313411"/>
              <a:gd name="connsiteY17" fmla="*/ 781396 h 2116975"/>
              <a:gd name="connsiteX18" fmla="*/ 193963 w 1313411"/>
              <a:gd name="connsiteY18" fmla="*/ 825731 h 2116975"/>
              <a:gd name="connsiteX19" fmla="*/ 188422 w 1313411"/>
              <a:gd name="connsiteY19" fmla="*/ 875607 h 2116975"/>
              <a:gd name="connsiteX20" fmla="*/ 182880 w 1313411"/>
              <a:gd name="connsiteY20" fmla="*/ 892233 h 2116975"/>
              <a:gd name="connsiteX21" fmla="*/ 149629 w 1313411"/>
              <a:gd name="connsiteY21" fmla="*/ 886691 h 2116975"/>
              <a:gd name="connsiteX22" fmla="*/ 133003 w 1313411"/>
              <a:gd name="connsiteY22" fmla="*/ 942109 h 2116975"/>
              <a:gd name="connsiteX23" fmla="*/ 144087 w 1313411"/>
              <a:gd name="connsiteY23" fmla="*/ 997527 h 2116975"/>
              <a:gd name="connsiteX24" fmla="*/ 171796 w 1313411"/>
              <a:gd name="connsiteY24" fmla="*/ 1025236 h 2116975"/>
              <a:gd name="connsiteX25" fmla="*/ 205047 w 1313411"/>
              <a:gd name="connsiteY25" fmla="*/ 1064029 h 2116975"/>
              <a:gd name="connsiteX26" fmla="*/ 205047 w 1313411"/>
              <a:gd name="connsiteY26" fmla="*/ 1102822 h 2116975"/>
              <a:gd name="connsiteX27" fmla="*/ 182880 w 1313411"/>
              <a:gd name="connsiteY27" fmla="*/ 1119447 h 2116975"/>
              <a:gd name="connsiteX28" fmla="*/ 182880 w 1313411"/>
              <a:gd name="connsiteY28" fmla="*/ 1119447 h 2116975"/>
              <a:gd name="connsiteX29" fmla="*/ 238298 w 1313411"/>
              <a:gd name="connsiteY29" fmla="*/ 1230284 h 2116975"/>
              <a:gd name="connsiteX30" fmla="*/ 249382 w 1313411"/>
              <a:gd name="connsiteY30" fmla="*/ 1318953 h 2116975"/>
              <a:gd name="connsiteX31" fmla="*/ 282633 w 1313411"/>
              <a:gd name="connsiteY31" fmla="*/ 1341120 h 2116975"/>
              <a:gd name="connsiteX32" fmla="*/ 282633 w 1313411"/>
              <a:gd name="connsiteY32" fmla="*/ 1341120 h 2116975"/>
              <a:gd name="connsiteX33" fmla="*/ 304800 w 1313411"/>
              <a:gd name="connsiteY33" fmla="*/ 1390996 h 2116975"/>
              <a:gd name="connsiteX34" fmla="*/ 321425 w 1313411"/>
              <a:gd name="connsiteY34" fmla="*/ 1418705 h 2116975"/>
              <a:gd name="connsiteX35" fmla="*/ 326967 w 1313411"/>
              <a:gd name="connsiteY35" fmla="*/ 1463040 h 2116975"/>
              <a:gd name="connsiteX36" fmla="*/ 299258 w 1313411"/>
              <a:gd name="connsiteY36" fmla="*/ 1507375 h 2116975"/>
              <a:gd name="connsiteX37" fmla="*/ 315883 w 1313411"/>
              <a:gd name="connsiteY37" fmla="*/ 1546167 h 2116975"/>
              <a:gd name="connsiteX38" fmla="*/ 410094 w 1313411"/>
              <a:gd name="connsiteY38" fmla="*/ 1612669 h 2116975"/>
              <a:gd name="connsiteX39" fmla="*/ 459971 w 1313411"/>
              <a:gd name="connsiteY39" fmla="*/ 1623753 h 2116975"/>
              <a:gd name="connsiteX40" fmla="*/ 465513 w 1313411"/>
              <a:gd name="connsiteY40" fmla="*/ 1607127 h 2116975"/>
              <a:gd name="connsiteX41" fmla="*/ 465513 w 1313411"/>
              <a:gd name="connsiteY41" fmla="*/ 1607127 h 2116975"/>
              <a:gd name="connsiteX42" fmla="*/ 543098 w 1313411"/>
              <a:gd name="connsiteY42" fmla="*/ 1712422 h 2116975"/>
              <a:gd name="connsiteX43" fmla="*/ 604058 w 1313411"/>
              <a:gd name="connsiteY43" fmla="*/ 1734589 h 2116975"/>
              <a:gd name="connsiteX44" fmla="*/ 604058 w 1313411"/>
              <a:gd name="connsiteY44" fmla="*/ 1734589 h 2116975"/>
              <a:gd name="connsiteX45" fmla="*/ 642851 w 1313411"/>
              <a:gd name="connsiteY45" fmla="*/ 1795549 h 2116975"/>
              <a:gd name="connsiteX46" fmla="*/ 703811 w 1313411"/>
              <a:gd name="connsiteY46" fmla="*/ 1834342 h 2116975"/>
              <a:gd name="connsiteX47" fmla="*/ 775854 w 1313411"/>
              <a:gd name="connsiteY47" fmla="*/ 1923011 h 2116975"/>
              <a:gd name="connsiteX48" fmla="*/ 786938 w 1313411"/>
              <a:gd name="connsiteY48" fmla="*/ 2017222 h 2116975"/>
              <a:gd name="connsiteX49" fmla="*/ 803563 w 1313411"/>
              <a:gd name="connsiteY49" fmla="*/ 2050473 h 2116975"/>
              <a:gd name="connsiteX50" fmla="*/ 809105 w 1313411"/>
              <a:gd name="connsiteY50" fmla="*/ 2083724 h 2116975"/>
              <a:gd name="connsiteX51" fmla="*/ 1197033 w 1313411"/>
              <a:gd name="connsiteY51" fmla="*/ 2116975 h 2116975"/>
              <a:gd name="connsiteX52" fmla="*/ 1230283 w 1313411"/>
              <a:gd name="connsiteY52" fmla="*/ 2089265 h 2116975"/>
              <a:gd name="connsiteX53" fmla="*/ 1213658 w 1313411"/>
              <a:gd name="connsiteY53" fmla="*/ 2011680 h 2116975"/>
              <a:gd name="connsiteX54" fmla="*/ 1263534 w 1313411"/>
              <a:gd name="connsiteY54" fmla="*/ 1906385 h 2116975"/>
              <a:gd name="connsiteX55" fmla="*/ 1285702 w 1313411"/>
              <a:gd name="connsiteY55" fmla="*/ 1867593 h 2116975"/>
              <a:gd name="connsiteX56" fmla="*/ 1313411 w 1313411"/>
              <a:gd name="connsiteY56" fmla="*/ 1806633 h 2116975"/>
              <a:gd name="connsiteX57" fmla="*/ 1252451 w 1313411"/>
              <a:gd name="connsiteY57" fmla="*/ 1657004 h 2116975"/>
              <a:gd name="connsiteX58" fmla="*/ 576349 w 1313411"/>
              <a:gd name="connsiteY58" fmla="*/ 714895 h 2116975"/>
              <a:gd name="connsiteX59" fmla="*/ 696710 w 1313411"/>
              <a:gd name="connsiteY59" fmla="*/ 160669 h 2116975"/>
              <a:gd name="connsiteX60" fmla="*/ 99753 w 1313411"/>
              <a:gd name="connsiteY60" fmla="*/ 0 h 2116975"/>
              <a:gd name="connsiteX0" fmla="*/ 99753 w 1313411"/>
              <a:gd name="connsiteY0" fmla="*/ 0 h 2116975"/>
              <a:gd name="connsiteX1" fmla="*/ 99753 w 1313411"/>
              <a:gd name="connsiteY1" fmla="*/ 60960 h 2116975"/>
              <a:gd name="connsiteX2" fmla="*/ 94211 w 1313411"/>
              <a:gd name="connsiteY2" fmla="*/ 99753 h 2116975"/>
              <a:gd name="connsiteX3" fmla="*/ 72043 w 1313411"/>
              <a:gd name="connsiteY3" fmla="*/ 138545 h 2116975"/>
              <a:gd name="connsiteX4" fmla="*/ 83127 w 1313411"/>
              <a:gd name="connsiteY4" fmla="*/ 193964 h 2116975"/>
              <a:gd name="connsiteX5" fmla="*/ 0 w 1313411"/>
              <a:gd name="connsiteY5" fmla="*/ 254924 h 2116975"/>
              <a:gd name="connsiteX6" fmla="*/ 0 w 1313411"/>
              <a:gd name="connsiteY6" fmla="*/ 299258 h 2116975"/>
              <a:gd name="connsiteX7" fmla="*/ 38793 w 1313411"/>
              <a:gd name="connsiteY7" fmla="*/ 387927 h 2116975"/>
              <a:gd name="connsiteX8" fmla="*/ 38793 w 1313411"/>
              <a:gd name="connsiteY8" fmla="*/ 426720 h 2116975"/>
              <a:gd name="connsiteX9" fmla="*/ 22167 w 1313411"/>
              <a:gd name="connsiteY9" fmla="*/ 576349 h 2116975"/>
              <a:gd name="connsiteX10" fmla="*/ 49876 w 1313411"/>
              <a:gd name="connsiteY10" fmla="*/ 670560 h 2116975"/>
              <a:gd name="connsiteX11" fmla="*/ 77585 w 1313411"/>
              <a:gd name="connsiteY11" fmla="*/ 703811 h 2116975"/>
              <a:gd name="connsiteX12" fmla="*/ 83127 w 1313411"/>
              <a:gd name="connsiteY12" fmla="*/ 742604 h 2116975"/>
              <a:gd name="connsiteX13" fmla="*/ 72043 w 1313411"/>
              <a:gd name="connsiteY13" fmla="*/ 814647 h 2116975"/>
              <a:gd name="connsiteX14" fmla="*/ 121920 w 1313411"/>
              <a:gd name="connsiteY14" fmla="*/ 825731 h 2116975"/>
              <a:gd name="connsiteX15" fmla="*/ 144087 w 1313411"/>
              <a:gd name="connsiteY15" fmla="*/ 825731 h 2116975"/>
              <a:gd name="connsiteX16" fmla="*/ 166254 w 1313411"/>
              <a:gd name="connsiteY16" fmla="*/ 792480 h 2116975"/>
              <a:gd name="connsiteX17" fmla="*/ 182880 w 1313411"/>
              <a:gd name="connsiteY17" fmla="*/ 781396 h 2116975"/>
              <a:gd name="connsiteX18" fmla="*/ 193963 w 1313411"/>
              <a:gd name="connsiteY18" fmla="*/ 825731 h 2116975"/>
              <a:gd name="connsiteX19" fmla="*/ 188422 w 1313411"/>
              <a:gd name="connsiteY19" fmla="*/ 875607 h 2116975"/>
              <a:gd name="connsiteX20" fmla="*/ 182880 w 1313411"/>
              <a:gd name="connsiteY20" fmla="*/ 892233 h 2116975"/>
              <a:gd name="connsiteX21" fmla="*/ 149629 w 1313411"/>
              <a:gd name="connsiteY21" fmla="*/ 886691 h 2116975"/>
              <a:gd name="connsiteX22" fmla="*/ 133003 w 1313411"/>
              <a:gd name="connsiteY22" fmla="*/ 942109 h 2116975"/>
              <a:gd name="connsiteX23" fmla="*/ 144087 w 1313411"/>
              <a:gd name="connsiteY23" fmla="*/ 997527 h 2116975"/>
              <a:gd name="connsiteX24" fmla="*/ 171796 w 1313411"/>
              <a:gd name="connsiteY24" fmla="*/ 1025236 h 2116975"/>
              <a:gd name="connsiteX25" fmla="*/ 205047 w 1313411"/>
              <a:gd name="connsiteY25" fmla="*/ 1064029 h 2116975"/>
              <a:gd name="connsiteX26" fmla="*/ 205047 w 1313411"/>
              <a:gd name="connsiteY26" fmla="*/ 1102822 h 2116975"/>
              <a:gd name="connsiteX27" fmla="*/ 182880 w 1313411"/>
              <a:gd name="connsiteY27" fmla="*/ 1119447 h 2116975"/>
              <a:gd name="connsiteX28" fmla="*/ 182880 w 1313411"/>
              <a:gd name="connsiteY28" fmla="*/ 1119447 h 2116975"/>
              <a:gd name="connsiteX29" fmla="*/ 238298 w 1313411"/>
              <a:gd name="connsiteY29" fmla="*/ 1230284 h 2116975"/>
              <a:gd name="connsiteX30" fmla="*/ 249382 w 1313411"/>
              <a:gd name="connsiteY30" fmla="*/ 1318953 h 2116975"/>
              <a:gd name="connsiteX31" fmla="*/ 282633 w 1313411"/>
              <a:gd name="connsiteY31" fmla="*/ 1341120 h 2116975"/>
              <a:gd name="connsiteX32" fmla="*/ 282633 w 1313411"/>
              <a:gd name="connsiteY32" fmla="*/ 1341120 h 2116975"/>
              <a:gd name="connsiteX33" fmla="*/ 304800 w 1313411"/>
              <a:gd name="connsiteY33" fmla="*/ 1390996 h 2116975"/>
              <a:gd name="connsiteX34" fmla="*/ 321425 w 1313411"/>
              <a:gd name="connsiteY34" fmla="*/ 1418705 h 2116975"/>
              <a:gd name="connsiteX35" fmla="*/ 326967 w 1313411"/>
              <a:gd name="connsiteY35" fmla="*/ 1463040 h 2116975"/>
              <a:gd name="connsiteX36" fmla="*/ 299258 w 1313411"/>
              <a:gd name="connsiteY36" fmla="*/ 1507375 h 2116975"/>
              <a:gd name="connsiteX37" fmla="*/ 315883 w 1313411"/>
              <a:gd name="connsiteY37" fmla="*/ 1546167 h 2116975"/>
              <a:gd name="connsiteX38" fmla="*/ 410094 w 1313411"/>
              <a:gd name="connsiteY38" fmla="*/ 1612669 h 2116975"/>
              <a:gd name="connsiteX39" fmla="*/ 459971 w 1313411"/>
              <a:gd name="connsiteY39" fmla="*/ 1623753 h 2116975"/>
              <a:gd name="connsiteX40" fmla="*/ 465513 w 1313411"/>
              <a:gd name="connsiteY40" fmla="*/ 1607127 h 2116975"/>
              <a:gd name="connsiteX41" fmla="*/ 465513 w 1313411"/>
              <a:gd name="connsiteY41" fmla="*/ 1607127 h 2116975"/>
              <a:gd name="connsiteX42" fmla="*/ 543098 w 1313411"/>
              <a:gd name="connsiteY42" fmla="*/ 1712422 h 2116975"/>
              <a:gd name="connsiteX43" fmla="*/ 604058 w 1313411"/>
              <a:gd name="connsiteY43" fmla="*/ 1734589 h 2116975"/>
              <a:gd name="connsiteX44" fmla="*/ 604058 w 1313411"/>
              <a:gd name="connsiteY44" fmla="*/ 1734589 h 2116975"/>
              <a:gd name="connsiteX45" fmla="*/ 642851 w 1313411"/>
              <a:gd name="connsiteY45" fmla="*/ 1795549 h 2116975"/>
              <a:gd name="connsiteX46" fmla="*/ 703811 w 1313411"/>
              <a:gd name="connsiteY46" fmla="*/ 1834342 h 2116975"/>
              <a:gd name="connsiteX47" fmla="*/ 775854 w 1313411"/>
              <a:gd name="connsiteY47" fmla="*/ 1923011 h 2116975"/>
              <a:gd name="connsiteX48" fmla="*/ 786938 w 1313411"/>
              <a:gd name="connsiteY48" fmla="*/ 2017222 h 2116975"/>
              <a:gd name="connsiteX49" fmla="*/ 803563 w 1313411"/>
              <a:gd name="connsiteY49" fmla="*/ 2050473 h 2116975"/>
              <a:gd name="connsiteX50" fmla="*/ 809105 w 1313411"/>
              <a:gd name="connsiteY50" fmla="*/ 2083724 h 2116975"/>
              <a:gd name="connsiteX51" fmla="*/ 1197033 w 1313411"/>
              <a:gd name="connsiteY51" fmla="*/ 2116975 h 2116975"/>
              <a:gd name="connsiteX52" fmla="*/ 1230283 w 1313411"/>
              <a:gd name="connsiteY52" fmla="*/ 2089265 h 2116975"/>
              <a:gd name="connsiteX53" fmla="*/ 1213658 w 1313411"/>
              <a:gd name="connsiteY53" fmla="*/ 2011680 h 2116975"/>
              <a:gd name="connsiteX54" fmla="*/ 1263534 w 1313411"/>
              <a:gd name="connsiteY54" fmla="*/ 1906385 h 2116975"/>
              <a:gd name="connsiteX55" fmla="*/ 1285702 w 1313411"/>
              <a:gd name="connsiteY55" fmla="*/ 1867593 h 2116975"/>
              <a:gd name="connsiteX56" fmla="*/ 1313411 w 1313411"/>
              <a:gd name="connsiteY56" fmla="*/ 1806633 h 2116975"/>
              <a:gd name="connsiteX57" fmla="*/ 1252451 w 1313411"/>
              <a:gd name="connsiteY57" fmla="*/ 1657004 h 2116975"/>
              <a:gd name="connsiteX58" fmla="*/ 576349 w 1313411"/>
              <a:gd name="connsiteY58" fmla="*/ 714895 h 2116975"/>
              <a:gd name="connsiteX59" fmla="*/ 696710 w 1313411"/>
              <a:gd name="connsiteY59" fmla="*/ 160669 h 2116975"/>
              <a:gd name="connsiteX60" fmla="*/ 264016 w 1313411"/>
              <a:gd name="connsiteY60" fmla="*/ 45720 h 2116975"/>
              <a:gd name="connsiteX61" fmla="*/ 99753 w 1313411"/>
              <a:gd name="connsiteY61" fmla="*/ 0 h 2116975"/>
              <a:gd name="connsiteX0" fmla="*/ 99753 w 1313411"/>
              <a:gd name="connsiteY0" fmla="*/ 0 h 2116975"/>
              <a:gd name="connsiteX1" fmla="*/ 99753 w 1313411"/>
              <a:gd name="connsiteY1" fmla="*/ 60960 h 2116975"/>
              <a:gd name="connsiteX2" fmla="*/ 94211 w 1313411"/>
              <a:gd name="connsiteY2" fmla="*/ 99753 h 2116975"/>
              <a:gd name="connsiteX3" fmla="*/ 72043 w 1313411"/>
              <a:gd name="connsiteY3" fmla="*/ 138545 h 2116975"/>
              <a:gd name="connsiteX4" fmla="*/ 83127 w 1313411"/>
              <a:gd name="connsiteY4" fmla="*/ 193964 h 2116975"/>
              <a:gd name="connsiteX5" fmla="*/ 0 w 1313411"/>
              <a:gd name="connsiteY5" fmla="*/ 254924 h 2116975"/>
              <a:gd name="connsiteX6" fmla="*/ 0 w 1313411"/>
              <a:gd name="connsiteY6" fmla="*/ 299258 h 2116975"/>
              <a:gd name="connsiteX7" fmla="*/ 38793 w 1313411"/>
              <a:gd name="connsiteY7" fmla="*/ 387927 h 2116975"/>
              <a:gd name="connsiteX8" fmla="*/ 38793 w 1313411"/>
              <a:gd name="connsiteY8" fmla="*/ 426720 h 2116975"/>
              <a:gd name="connsiteX9" fmla="*/ 22167 w 1313411"/>
              <a:gd name="connsiteY9" fmla="*/ 576349 h 2116975"/>
              <a:gd name="connsiteX10" fmla="*/ 49876 w 1313411"/>
              <a:gd name="connsiteY10" fmla="*/ 670560 h 2116975"/>
              <a:gd name="connsiteX11" fmla="*/ 77585 w 1313411"/>
              <a:gd name="connsiteY11" fmla="*/ 703811 h 2116975"/>
              <a:gd name="connsiteX12" fmla="*/ 83127 w 1313411"/>
              <a:gd name="connsiteY12" fmla="*/ 742604 h 2116975"/>
              <a:gd name="connsiteX13" fmla="*/ 72043 w 1313411"/>
              <a:gd name="connsiteY13" fmla="*/ 814647 h 2116975"/>
              <a:gd name="connsiteX14" fmla="*/ 121920 w 1313411"/>
              <a:gd name="connsiteY14" fmla="*/ 825731 h 2116975"/>
              <a:gd name="connsiteX15" fmla="*/ 144087 w 1313411"/>
              <a:gd name="connsiteY15" fmla="*/ 825731 h 2116975"/>
              <a:gd name="connsiteX16" fmla="*/ 166254 w 1313411"/>
              <a:gd name="connsiteY16" fmla="*/ 792480 h 2116975"/>
              <a:gd name="connsiteX17" fmla="*/ 182880 w 1313411"/>
              <a:gd name="connsiteY17" fmla="*/ 781396 h 2116975"/>
              <a:gd name="connsiteX18" fmla="*/ 193963 w 1313411"/>
              <a:gd name="connsiteY18" fmla="*/ 825731 h 2116975"/>
              <a:gd name="connsiteX19" fmla="*/ 188422 w 1313411"/>
              <a:gd name="connsiteY19" fmla="*/ 875607 h 2116975"/>
              <a:gd name="connsiteX20" fmla="*/ 182880 w 1313411"/>
              <a:gd name="connsiteY20" fmla="*/ 892233 h 2116975"/>
              <a:gd name="connsiteX21" fmla="*/ 149629 w 1313411"/>
              <a:gd name="connsiteY21" fmla="*/ 886691 h 2116975"/>
              <a:gd name="connsiteX22" fmla="*/ 133003 w 1313411"/>
              <a:gd name="connsiteY22" fmla="*/ 942109 h 2116975"/>
              <a:gd name="connsiteX23" fmla="*/ 144087 w 1313411"/>
              <a:gd name="connsiteY23" fmla="*/ 997527 h 2116975"/>
              <a:gd name="connsiteX24" fmla="*/ 171796 w 1313411"/>
              <a:gd name="connsiteY24" fmla="*/ 1025236 h 2116975"/>
              <a:gd name="connsiteX25" fmla="*/ 205047 w 1313411"/>
              <a:gd name="connsiteY25" fmla="*/ 1064029 h 2116975"/>
              <a:gd name="connsiteX26" fmla="*/ 205047 w 1313411"/>
              <a:gd name="connsiteY26" fmla="*/ 1102822 h 2116975"/>
              <a:gd name="connsiteX27" fmla="*/ 182880 w 1313411"/>
              <a:gd name="connsiteY27" fmla="*/ 1119447 h 2116975"/>
              <a:gd name="connsiteX28" fmla="*/ 182880 w 1313411"/>
              <a:gd name="connsiteY28" fmla="*/ 1119447 h 2116975"/>
              <a:gd name="connsiteX29" fmla="*/ 238298 w 1313411"/>
              <a:gd name="connsiteY29" fmla="*/ 1230284 h 2116975"/>
              <a:gd name="connsiteX30" fmla="*/ 249382 w 1313411"/>
              <a:gd name="connsiteY30" fmla="*/ 1318953 h 2116975"/>
              <a:gd name="connsiteX31" fmla="*/ 282633 w 1313411"/>
              <a:gd name="connsiteY31" fmla="*/ 1341120 h 2116975"/>
              <a:gd name="connsiteX32" fmla="*/ 282633 w 1313411"/>
              <a:gd name="connsiteY32" fmla="*/ 1341120 h 2116975"/>
              <a:gd name="connsiteX33" fmla="*/ 304800 w 1313411"/>
              <a:gd name="connsiteY33" fmla="*/ 1390996 h 2116975"/>
              <a:gd name="connsiteX34" fmla="*/ 321425 w 1313411"/>
              <a:gd name="connsiteY34" fmla="*/ 1418705 h 2116975"/>
              <a:gd name="connsiteX35" fmla="*/ 326967 w 1313411"/>
              <a:gd name="connsiteY35" fmla="*/ 1463040 h 2116975"/>
              <a:gd name="connsiteX36" fmla="*/ 299258 w 1313411"/>
              <a:gd name="connsiteY36" fmla="*/ 1507375 h 2116975"/>
              <a:gd name="connsiteX37" fmla="*/ 315883 w 1313411"/>
              <a:gd name="connsiteY37" fmla="*/ 1546167 h 2116975"/>
              <a:gd name="connsiteX38" fmla="*/ 410094 w 1313411"/>
              <a:gd name="connsiteY38" fmla="*/ 1612669 h 2116975"/>
              <a:gd name="connsiteX39" fmla="*/ 459971 w 1313411"/>
              <a:gd name="connsiteY39" fmla="*/ 1623753 h 2116975"/>
              <a:gd name="connsiteX40" fmla="*/ 465513 w 1313411"/>
              <a:gd name="connsiteY40" fmla="*/ 1607127 h 2116975"/>
              <a:gd name="connsiteX41" fmla="*/ 465513 w 1313411"/>
              <a:gd name="connsiteY41" fmla="*/ 1607127 h 2116975"/>
              <a:gd name="connsiteX42" fmla="*/ 543098 w 1313411"/>
              <a:gd name="connsiteY42" fmla="*/ 1712422 h 2116975"/>
              <a:gd name="connsiteX43" fmla="*/ 604058 w 1313411"/>
              <a:gd name="connsiteY43" fmla="*/ 1734589 h 2116975"/>
              <a:gd name="connsiteX44" fmla="*/ 604058 w 1313411"/>
              <a:gd name="connsiteY44" fmla="*/ 1734589 h 2116975"/>
              <a:gd name="connsiteX45" fmla="*/ 642851 w 1313411"/>
              <a:gd name="connsiteY45" fmla="*/ 1795549 h 2116975"/>
              <a:gd name="connsiteX46" fmla="*/ 703811 w 1313411"/>
              <a:gd name="connsiteY46" fmla="*/ 1834342 h 2116975"/>
              <a:gd name="connsiteX47" fmla="*/ 775854 w 1313411"/>
              <a:gd name="connsiteY47" fmla="*/ 1923011 h 2116975"/>
              <a:gd name="connsiteX48" fmla="*/ 786938 w 1313411"/>
              <a:gd name="connsiteY48" fmla="*/ 2017222 h 2116975"/>
              <a:gd name="connsiteX49" fmla="*/ 803563 w 1313411"/>
              <a:gd name="connsiteY49" fmla="*/ 2050473 h 2116975"/>
              <a:gd name="connsiteX50" fmla="*/ 809105 w 1313411"/>
              <a:gd name="connsiteY50" fmla="*/ 2083724 h 2116975"/>
              <a:gd name="connsiteX51" fmla="*/ 1197033 w 1313411"/>
              <a:gd name="connsiteY51" fmla="*/ 2116975 h 2116975"/>
              <a:gd name="connsiteX52" fmla="*/ 1230283 w 1313411"/>
              <a:gd name="connsiteY52" fmla="*/ 2089265 h 2116975"/>
              <a:gd name="connsiteX53" fmla="*/ 1213658 w 1313411"/>
              <a:gd name="connsiteY53" fmla="*/ 2011680 h 2116975"/>
              <a:gd name="connsiteX54" fmla="*/ 1263534 w 1313411"/>
              <a:gd name="connsiteY54" fmla="*/ 1906385 h 2116975"/>
              <a:gd name="connsiteX55" fmla="*/ 1285702 w 1313411"/>
              <a:gd name="connsiteY55" fmla="*/ 1867593 h 2116975"/>
              <a:gd name="connsiteX56" fmla="*/ 1313411 w 1313411"/>
              <a:gd name="connsiteY56" fmla="*/ 1806633 h 2116975"/>
              <a:gd name="connsiteX57" fmla="*/ 1252451 w 1313411"/>
              <a:gd name="connsiteY57" fmla="*/ 1657004 h 2116975"/>
              <a:gd name="connsiteX58" fmla="*/ 576349 w 1313411"/>
              <a:gd name="connsiteY58" fmla="*/ 714895 h 2116975"/>
              <a:gd name="connsiteX59" fmla="*/ 696710 w 1313411"/>
              <a:gd name="connsiteY59" fmla="*/ 160669 h 2116975"/>
              <a:gd name="connsiteX60" fmla="*/ 256872 w 1313411"/>
              <a:gd name="connsiteY60" fmla="*/ 36195 h 2116975"/>
              <a:gd name="connsiteX61" fmla="*/ 99753 w 1313411"/>
              <a:gd name="connsiteY61" fmla="*/ 0 h 2116975"/>
              <a:gd name="connsiteX0" fmla="*/ 106896 w 1313411"/>
              <a:gd name="connsiteY0" fmla="*/ 0 h 2124119"/>
              <a:gd name="connsiteX1" fmla="*/ 99753 w 1313411"/>
              <a:gd name="connsiteY1" fmla="*/ 68104 h 2124119"/>
              <a:gd name="connsiteX2" fmla="*/ 94211 w 1313411"/>
              <a:gd name="connsiteY2" fmla="*/ 106897 h 2124119"/>
              <a:gd name="connsiteX3" fmla="*/ 72043 w 1313411"/>
              <a:gd name="connsiteY3" fmla="*/ 145689 h 2124119"/>
              <a:gd name="connsiteX4" fmla="*/ 83127 w 1313411"/>
              <a:gd name="connsiteY4" fmla="*/ 201108 h 2124119"/>
              <a:gd name="connsiteX5" fmla="*/ 0 w 1313411"/>
              <a:gd name="connsiteY5" fmla="*/ 262068 h 2124119"/>
              <a:gd name="connsiteX6" fmla="*/ 0 w 1313411"/>
              <a:gd name="connsiteY6" fmla="*/ 306402 h 2124119"/>
              <a:gd name="connsiteX7" fmla="*/ 38793 w 1313411"/>
              <a:gd name="connsiteY7" fmla="*/ 395071 h 2124119"/>
              <a:gd name="connsiteX8" fmla="*/ 38793 w 1313411"/>
              <a:gd name="connsiteY8" fmla="*/ 433864 h 2124119"/>
              <a:gd name="connsiteX9" fmla="*/ 22167 w 1313411"/>
              <a:gd name="connsiteY9" fmla="*/ 583493 h 2124119"/>
              <a:gd name="connsiteX10" fmla="*/ 49876 w 1313411"/>
              <a:gd name="connsiteY10" fmla="*/ 677704 h 2124119"/>
              <a:gd name="connsiteX11" fmla="*/ 77585 w 1313411"/>
              <a:gd name="connsiteY11" fmla="*/ 710955 h 2124119"/>
              <a:gd name="connsiteX12" fmla="*/ 83127 w 1313411"/>
              <a:gd name="connsiteY12" fmla="*/ 749748 h 2124119"/>
              <a:gd name="connsiteX13" fmla="*/ 72043 w 1313411"/>
              <a:gd name="connsiteY13" fmla="*/ 821791 h 2124119"/>
              <a:gd name="connsiteX14" fmla="*/ 121920 w 1313411"/>
              <a:gd name="connsiteY14" fmla="*/ 832875 h 2124119"/>
              <a:gd name="connsiteX15" fmla="*/ 144087 w 1313411"/>
              <a:gd name="connsiteY15" fmla="*/ 832875 h 2124119"/>
              <a:gd name="connsiteX16" fmla="*/ 166254 w 1313411"/>
              <a:gd name="connsiteY16" fmla="*/ 799624 h 2124119"/>
              <a:gd name="connsiteX17" fmla="*/ 182880 w 1313411"/>
              <a:gd name="connsiteY17" fmla="*/ 788540 h 2124119"/>
              <a:gd name="connsiteX18" fmla="*/ 193963 w 1313411"/>
              <a:gd name="connsiteY18" fmla="*/ 832875 h 2124119"/>
              <a:gd name="connsiteX19" fmla="*/ 188422 w 1313411"/>
              <a:gd name="connsiteY19" fmla="*/ 882751 h 2124119"/>
              <a:gd name="connsiteX20" fmla="*/ 182880 w 1313411"/>
              <a:gd name="connsiteY20" fmla="*/ 899377 h 2124119"/>
              <a:gd name="connsiteX21" fmla="*/ 149629 w 1313411"/>
              <a:gd name="connsiteY21" fmla="*/ 893835 h 2124119"/>
              <a:gd name="connsiteX22" fmla="*/ 133003 w 1313411"/>
              <a:gd name="connsiteY22" fmla="*/ 949253 h 2124119"/>
              <a:gd name="connsiteX23" fmla="*/ 144087 w 1313411"/>
              <a:gd name="connsiteY23" fmla="*/ 1004671 h 2124119"/>
              <a:gd name="connsiteX24" fmla="*/ 171796 w 1313411"/>
              <a:gd name="connsiteY24" fmla="*/ 1032380 h 2124119"/>
              <a:gd name="connsiteX25" fmla="*/ 205047 w 1313411"/>
              <a:gd name="connsiteY25" fmla="*/ 1071173 h 2124119"/>
              <a:gd name="connsiteX26" fmla="*/ 205047 w 1313411"/>
              <a:gd name="connsiteY26" fmla="*/ 1109966 h 2124119"/>
              <a:gd name="connsiteX27" fmla="*/ 182880 w 1313411"/>
              <a:gd name="connsiteY27" fmla="*/ 1126591 h 2124119"/>
              <a:gd name="connsiteX28" fmla="*/ 182880 w 1313411"/>
              <a:gd name="connsiteY28" fmla="*/ 1126591 h 2124119"/>
              <a:gd name="connsiteX29" fmla="*/ 238298 w 1313411"/>
              <a:gd name="connsiteY29" fmla="*/ 1237428 h 2124119"/>
              <a:gd name="connsiteX30" fmla="*/ 249382 w 1313411"/>
              <a:gd name="connsiteY30" fmla="*/ 1326097 h 2124119"/>
              <a:gd name="connsiteX31" fmla="*/ 282633 w 1313411"/>
              <a:gd name="connsiteY31" fmla="*/ 1348264 h 2124119"/>
              <a:gd name="connsiteX32" fmla="*/ 282633 w 1313411"/>
              <a:gd name="connsiteY32" fmla="*/ 1348264 h 2124119"/>
              <a:gd name="connsiteX33" fmla="*/ 304800 w 1313411"/>
              <a:gd name="connsiteY33" fmla="*/ 1398140 h 2124119"/>
              <a:gd name="connsiteX34" fmla="*/ 321425 w 1313411"/>
              <a:gd name="connsiteY34" fmla="*/ 1425849 h 2124119"/>
              <a:gd name="connsiteX35" fmla="*/ 326967 w 1313411"/>
              <a:gd name="connsiteY35" fmla="*/ 1470184 h 2124119"/>
              <a:gd name="connsiteX36" fmla="*/ 299258 w 1313411"/>
              <a:gd name="connsiteY36" fmla="*/ 1514519 h 2124119"/>
              <a:gd name="connsiteX37" fmla="*/ 315883 w 1313411"/>
              <a:gd name="connsiteY37" fmla="*/ 1553311 h 2124119"/>
              <a:gd name="connsiteX38" fmla="*/ 410094 w 1313411"/>
              <a:gd name="connsiteY38" fmla="*/ 1619813 h 2124119"/>
              <a:gd name="connsiteX39" fmla="*/ 459971 w 1313411"/>
              <a:gd name="connsiteY39" fmla="*/ 1630897 h 2124119"/>
              <a:gd name="connsiteX40" fmla="*/ 465513 w 1313411"/>
              <a:gd name="connsiteY40" fmla="*/ 1614271 h 2124119"/>
              <a:gd name="connsiteX41" fmla="*/ 465513 w 1313411"/>
              <a:gd name="connsiteY41" fmla="*/ 1614271 h 2124119"/>
              <a:gd name="connsiteX42" fmla="*/ 543098 w 1313411"/>
              <a:gd name="connsiteY42" fmla="*/ 1719566 h 2124119"/>
              <a:gd name="connsiteX43" fmla="*/ 604058 w 1313411"/>
              <a:gd name="connsiteY43" fmla="*/ 1741733 h 2124119"/>
              <a:gd name="connsiteX44" fmla="*/ 604058 w 1313411"/>
              <a:gd name="connsiteY44" fmla="*/ 1741733 h 2124119"/>
              <a:gd name="connsiteX45" fmla="*/ 642851 w 1313411"/>
              <a:gd name="connsiteY45" fmla="*/ 1802693 h 2124119"/>
              <a:gd name="connsiteX46" fmla="*/ 703811 w 1313411"/>
              <a:gd name="connsiteY46" fmla="*/ 1841486 h 2124119"/>
              <a:gd name="connsiteX47" fmla="*/ 775854 w 1313411"/>
              <a:gd name="connsiteY47" fmla="*/ 1930155 h 2124119"/>
              <a:gd name="connsiteX48" fmla="*/ 786938 w 1313411"/>
              <a:gd name="connsiteY48" fmla="*/ 2024366 h 2124119"/>
              <a:gd name="connsiteX49" fmla="*/ 803563 w 1313411"/>
              <a:gd name="connsiteY49" fmla="*/ 2057617 h 2124119"/>
              <a:gd name="connsiteX50" fmla="*/ 809105 w 1313411"/>
              <a:gd name="connsiteY50" fmla="*/ 2090868 h 2124119"/>
              <a:gd name="connsiteX51" fmla="*/ 1197033 w 1313411"/>
              <a:gd name="connsiteY51" fmla="*/ 2124119 h 2124119"/>
              <a:gd name="connsiteX52" fmla="*/ 1230283 w 1313411"/>
              <a:gd name="connsiteY52" fmla="*/ 2096409 h 2124119"/>
              <a:gd name="connsiteX53" fmla="*/ 1213658 w 1313411"/>
              <a:gd name="connsiteY53" fmla="*/ 2018824 h 2124119"/>
              <a:gd name="connsiteX54" fmla="*/ 1263534 w 1313411"/>
              <a:gd name="connsiteY54" fmla="*/ 1913529 h 2124119"/>
              <a:gd name="connsiteX55" fmla="*/ 1285702 w 1313411"/>
              <a:gd name="connsiteY55" fmla="*/ 1874737 h 2124119"/>
              <a:gd name="connsiteX56" fmla="*/ 1313411 w 1313411"/>
              <a:gd name="connsiteY56" fmla="*/ 1813777 h 2124119"/>
              <a:gd name="connsiteX57" fmla="*/ 1252451 w 1313411"/>
              <a:gd name="connsiteY57" fmla="*/ 1664148 h 2124119"/>
              <a:gd name="connsiteX58" fmla="*/ 576349 w 1313411"/>
              <a:gd name="connsiteY58" fmla="*/ 722039 h 2124119"/>
              <a:gd name="connsiteX59" fmla="*/ 696710 w 1313411"/>
              <a:gd name="connsiteY59" fmla="*/ 167813 h 2124119"/>
              <a:gd name="connsiteX60" fmla="*/ 256872 w 1313411"/>
              <a:gd name="connsiteY60" fmla="*/ 43339 h 2124119"/>
              <a:gd name="connsiteX61" fmla="*/ 106896 w 1313411"/>
              <a:gd name="connsiteY61" fmla="*/ 0 h 2124119"/>
              <a:gd name="connsiteX0" fmla="*/ 106896 w 1313411"/>
              <a:gd name="connsiteY0" fmla="*/ 0 h 2124119"/>
              <a:gd name="connsiteX1" fmla="*/ 102091 w 1313411"/>
              <a:gd name="connsiteY1" fmla="*/ 29052 h 2124119"/>
              <a:gd name="connsiteX2" fmla="*/ 99753 w 1313411"/>
              <a:gd name="connsiteY2" fmla="*/ 68104 h 2124119"/>
              <a:gd name="connsiteX3" fmla="*/ 94211 w 1313411"/>
              <a:gd name="connsiteY3" fmla="*/ 106897 h 2124119"/>
              <a:gd name="connsiteX4" fmla="*/ 72043 w 1313411"/>
              <a:gd name="connsiteY4" fmla="*/ 145689 h 2124119"/>
              <a:gd name="connsiteX5" fmla="*/ 83127 w 1313411"/>
              <a:gd name="connsiteY5" fmla="*/ 201108 h 2124119"/>
              <a:gd name="connsiteX6" fmla="*/ 0 w 1313411"/>
              <a:gd name="connsiteY6" fmla="*/ 262068 h 2124119"/>
              <a:gd name="connsiteX7" fmla="*/ 0 w 1313411"/>
              <a:gd name="connsiteY7" fmla="*/ 306402 h 2124119"/>
              <a:gd name="connsiteX8" fmla="*/ 38793 w 1313411"/>
              <a:gd name="connsiteY8" fmla="*/ 395071 h 2124119"/>
              <a:gd name="connsiteX9" fmla="*/ 38793 w 1313411"/>
              <a:gd name="connsiteY9" fmla="*/ 433864 h 2124119"/>
              <a:gd name="connsiteX10" fmla="*/ 22167 w 1313411"/>
              <a:gd name="connsiteY10" fmla="*/ 583493 h 2124119"/>
              <a:gd name="connsiteX11" fmla="*/ 49876 w 1313411"/>
              <a:gd name="connsiteY11" fmla="*/ 677704 h 2124119"/>
              <a:gd name="connsiteX12" fmla="*/ 77585 w 1313411"/>
              <a:gd name="connsiteY12" fmla="*/ 710955 h 2124119"/>
              <a:gd name="connsiteX13" fmla="*/ 83127 w 1313411"/>
              <a:gd name="connsiteY13" fmla="*/ 749748 h 2124119"/>
              <a:gd name="connsiteX14" fmla="*/ 72043 w 1313411"/>
              <a:gd name="connsiteY14" fmla="*/ 821791 h 2124119"/>
              <a:gd name="connsiteX15" fmla="*/ 121920 w 1313411"/>
              <a:gd name="connsiteY15" fmla="*/ 832875 h 2124119"/>
              <a:gd name="connsiteX16" fmla="*/ 144087 w 1313411"/>
              <a:gd name="connsiteY16" fmla="*/ 832875 h 2124119"/>
              <a:gd name="connsiteX17" fmla="*/ 166254 w 1313411"/>
              <a:gd name="connsiteY17" fmla="*/ 799624 h 2124119"/>
              <a:gd name="connsiteX18" fmla="*/ 182880 w 1313411"/>
              <a:gd name="connsiteY18" fmla="*/ 788540 h 2124119"/>
              <a:gd name="connsiteX19" fmla="*/ 193963 w 1313411"/>
              <a:gd name="connsiteY19" fmla="*/ 832875 h 2124119"/>
              <a:gd name="connsiteX20" fmla="*/ 188422 w 1313411"/>
              <a:gd name="connsiteY20" fmla="*/ 882751 h 2124119"/>
              <a:gd name="connsiteX21" fmla="*/ 182880 w 1313411"/>
              <a:gd name="connsiteY21" fmla="*/ 899377 h 2124119"/>
              <a:gd name="connsiteX22" fmla="*/ 149629 w 1313411"/>
              <a:gd name="connsiteY22" fmla="*/ 893835 h 2124119"/>
              <a:gd name="connsiteX23" fmla="*/ 133003 w 1313411"/>
              <a:gd name="connsiteY23" fmla="*/ 949253 h 2124119"/>
              <a:gd name="connsiteX24" fmla="*/ 144087 w 1313411"/>
              <a:gd name="connsiteY24" fmla="*/ 1004671 h 2124119"/>
              <a:gd name="connsiteX25" fmla="*/ 171796 w 1313411"/>
              <a:gd name="connsiteY25" fmla="*/ 1032380 h 2124119"/>
              <a:gd name="connsiteX26" fmla="*/ 205047 w 1313411"/>
              <a:gd name="connsiteY26" fmla="*/ 1071173 h 2124119"/>
              <a:gd name="connsiteX27" fmla="*/ 205047 w 1313411"/>
              <a:gd name="connsiteY27" fmla="*/ 1109966 h 2124119"/>
              <a:gd name="connsiteX28" fmla="*/ 182880 w 1313411"/>
              <a:gd name="connsiteY28" fmla="*/ 1126591 h 2124119"/>
              <a:gd name="connsiteX29" fmla="*/ 182880 w 1313411"/>
              <a:gd name="connsiteY29" fmla="*/ 1126591 h 2124119"/>
              <a:gd name="connsiteX30" fmla="*/ 238298 w 1313411"/>
              <a:gd name="connsiteY30" fmla="*/ 1237428 h 2124119"/>
              <a:gd name="connsiteX31" fmla="*/ 249382 w 1313411"/>
              <a:gd name="connsiteY31" fmla="*/ 1326097 h 2124119"/>
              <a:gd name="connsiteX32" fmla="*/ 282633 w 1313411"/>
              <a:gd name="connsiteY32" fmla="*/ 1348264 h 2124119"/>
              <a:gd name="connsiteX33" fmla="*/ 282633 w 1313411"/>
              <a:gd name="connsiteY33" fmla="*/ 1348264 h 2124119"/>
              <a:gd name="connsiteX34" fmla="*/ 304800 w 1313411"/>
              <a:gd name="connsiteY34" fmla="*/ 1398140 h 2124119"/>
              <a:gd name="connsiteX35" fmla="*/ 321425 w 1313411"/>
              <a:gd name="connsiteY35" fmla="*/ 1425849 h 2124119"/>
              <a:gd name="connsiteX36" fmla="*/ 326967 w 1313411"/>
              <a:gd name="connsiteY36" fmla="*/ 1470184 h 2124119"/>
              <a:gd name="connsiteX37" fmla="*/ 299258 w 1313411"/>
              <a:gd name="connsiteY37" fmla="*/ 1514519 h 2124119"/>
              <a:gd name="connsiteX38" fmla="*/ 315883 w 1313411"/>
              <a:gd name="connsiteY38" fmla="*/ 1553311 h 2124119"/>
              <a:gd name="connsiteX39" fmla="*/ 410094 w 1313411"/>
              <a:gd name="connsiteY39" fmla="*/ 1619813 h 2124119"/>
              <a:gd name="connsiteX40" fmla="*/ 459971 w 1313411"/>
              <a:gd name="connsiteY40" fmla="*/ 1630897 h 2124119"/>
              <a:gd name="connsiteX41" fmla="*/ 465513 w 1313411"/>
              <a:gd name="connsiteY41" fmla="*/ 1614271 h 2124119"/>
              <a:gd name="connsiteX42" fmla="*/ 465513 w 1313411"/>
              <a:gd name="connsiteY42" fmla="*/ 1614271 h 2124119"/>
              <a:gd name="connsiteX43" fmla="*/ 543098 w 1313411"/>
              <a:gd name="connsiteY43" fmla="*/ 1719566 h 2124119"/>
              <a:gd name="connsiteX44" fmla="*/ 604058 w 1313411"/>
              <a:gd name="connsiteY44" fmla="*/ 1741733 h 2124119"/>
              <a:gd name="connsiteX45" fmla="*/ 604058 w 1313411"/>
              <a:gd name="connsiteY45" fmla="*/ 1741733 h 2124119"/>
              <a:gd name="connsiteX46" fmla="*/ 642851 w 1313411"/>
              <a:gd name="connsiteY46" fmla="*/ 1802693 h 2124119"/>
              <a:gd name="connsiteX47" fmla="*/ 703811 w 1313411"/>
              <a:gd name="connsiteY47" fmla="*/ 1841486 h 2124119"/>
              <a:gd name="connsiteX48" fmla="*/ 775854 w 1313411"/>
              <a:gd name="connsiteY48" fmla="*/ 1930155 h 2124119"/>
              <a:gd name="connsiteX49" fmla="*/ 786938 w 1313411"/>
              <a:gd name="connsiteY49" fmla="*/ 2024366 h 2124119"/>
              <a:gd name="connsiteX50" fmla="*/ 803563 w 1313411"/>
              <a:gd name="connsiteY50" fmla="*/ 2057617 h 2124119"/>
              <a:gd name="connsiteX51" fmla="*/ 809105 w 1313411"/>
              <a:gd name="connsiteY51" fmla="*/ 2090868 h 2124119"/>
              <a:gd name="connsiteX52" fmla="*/ 1197033 w 1313411"/>
              <a:gd name="connsiteY52" fmla="*/ 2124119 h 2124119"/>
              <a:gd name="connsiteX53" fmla="*/ 1230283 w 1313411"/>
              <a:gd name="connsiteY53" fmla="*/ 2096409 h 2124119"/>
              <a:gd name="connsiteX54" fmla="*/ 1213658 w 1313411"/>
              <a:gd name="connsiteY54" fmla="*/ 2018824 h 2124119"/>
              <a:gd name="connsiteX55" fmla="*/ 1263534 w 1313411"/>
              <a:gd name="connsiteY55" fmla="*/ 1913529 h 2124119"/>
              <a:gd name="connsiteX56" fmla="*/ 1285702 w 1313411"/>
              <a:gd name="connsiteY56" fmla="*/ 1874737 h 2124119"/>
              <a:gd name="connsiteX57" fmla="*/ 1313411 w 1313411"/>
              <a:gd name="connsiteY57" fmla="*/ 1813777 h 2124119"/>
              <a:gd name="connsiteX58" fmla="*/ 1252451 w 1313411"/>
              <a:gd name="connsiteY58" fmla="*/ 1664148 h 2124119"/>
              <a:gd name="connsiteX59" fmla="*/ 576349 w 1313411"/>
              <a:gd name="connsiteY59" fmla="*/ 722039 h 2124119"/>
              <a:gd name="connsiteX60" fmla="*/ 696710 w 1313411"/>
              <a:gd name="connsiteY60" fmla="*/ 167813 h 2124119"/>
              <a:gd name="connsiteX61" fmla="*/ 256872 w 1313411"/>
              <a:gd name="connsiteY61" fmla="*/ 43339 h 2124119"/>
              <a:gd name="connsiteX62" fmla="*/ 106896 w 1313411"/>
              <a:gd name="connsiteY62" fmla="*/ 0 h 2124119"/>
              <a:gd name="connsiteX0" fmla="*/ 106896 w 1313411"/>
              <a:gd name="connsiteY0" fmla="*/ 0 h 2124119"/>
              <a:gd name="connsiteX1" fmla="*/ 83041 w 1313411"/>
              <a:gd name="connsiteY1" fmla="*/ 21908 h 2124119"/>
              <a:gd name="connsiteX2" fmla="*/ 99753 w 1313411"/>
              <a:gd name="connsiteY2" fmla="*/ 68104 h 2124119"/>
              <a:gd name="connsiteX3" fmla="*/ 94211 w 1313411"/>
              <a:gd name="connsiteY3" fmla="*/ 106897 h 2124119"/>
              <a:gd name="connsiteX4" fmla="*/ 72043 w 1313411"/>
              <a:gd name="connsiteY4" fmla="*/ 145689 h 2124119"/>
              <a:gd name="connsiteX5" fmla="*/ 83127 w 1313411"/>
              <a:gd name="connsiteY5" fmla="*/ 201108 h 2124119"/>
              <a:gd name="connsiteX6" fmla="*/ 0 w 1313411"/>
              <a:gd name="connsiteY6" fmla="*/ 262068 h 2124119"/>
              <a:gd name="connsiteX7" fmla="*/ 0 w 1313411"/>
              <a:gd name="connsiteY7" fmla="*/ 306402 h 2124119"/>
              <a:gd name="connsiteX8" fmla="*/ 38793 w 1313411"/>
              <a:gd name="connsiteY8" fmla="*/ 395071 h 2124119"/>
              <a:gd name="connsiteX9" fmla="*/ 38793 w 1313411"/>
              <a:gd name="connsiteY9" fmla="*/ 433864 h 2124119"/>
              <a:gd name="connsiteX10" fmla="*/ 22167 w 1313411"/>
              <a:gd name="connsiteY10" fmla="*/ 583493 h 2124119"/>
              <a:gd name="connsiteX11" fmla="*/ 49876 w 1313411"/>
              <a:gd name="connsiteY11" fmla="*/ 677704 h 2124119"/>
              <a:gd name="connsiteX12" fmla="*/ 77585 w 1313411"/>
              <a:gd name="connsiteY12" fmla="*/ 710955 h 2124119"/>
              <a:gd name="connsiteX13" fmla="*/ 83127 w 1313411"/>
              <a:gd name="connsiteY13" fmla="*/ 749748 h 2124119"/>
              <a:gd name="connsiteX14" fmla="*/ 72043 w 1313411"/>
              <a:gd name="connsiteY14" fmla="*/ 821791 h 2124119"/>
              <a:gd name="connsiteX15" fmla="*/ 121920 w 1313411"/>
              <a:gd name="connsiteY15" fmla="*/ 832875 h 2124119"/>
              <a:gd name="connsiteX16" fmla="*/ 144087 w 1313411"/>
              <a:gd name="connsiteY16" fmla="*/ 832875 h 2124119"/>
              <a:gd name="connsiteX17" fmla="*/ 166254 w 1313411"/>
              <a:gd name="connsiteY17" fmla="*/ 799624 h 2124119"/>
              <a:gd name="connsiteX18" fmla="*/ 182880 w 1313411"/>
              <a:gd name="connsiteY18" fmla="*/ 788540 h 2124119"/>
              <a:gd name="connsiteX19" fmla="*/ 193963 w 1313411"/>
              <a:gd name="connsiteY19" fmla="*/ 832875 h 2124119"/>
              <a:gd name="connsiteX20" fmla="*/ 188422 w 1313411"/>
              <a:gd name="connsiteY20" fmla="*/ 882751 h 2124119"/>
              <a:gd name="connsiteX21" fmla="*/ 182880 w 1313411"/>
              <a:gd name="connsiteY21" fmla="*/ 899377 h 2124119"/>
              <a:gd name="connsiteX22" fmla="*/ 149629 w 1313411"/>
              <a:gd name="connsiteY22" fmla="*/ 893835 h 2124119"/>
              <a:gd name="connsiteX23" fmla="*/ 133003 w 1313411"/>
              <a:gd name="connsiteY23" fmla="*/ 949253 h 2124119"/>
              <a:gd name="connsiteX24" fmla="*/ 144087 w 1313411"/>
              <a:gd name="connsiteY24" fmla="*/ 1004671 h 2124119"/>
              <a:gd name="connsiteX25" fmla="*/ 171796 w 1313411"/>
              <a:gd name="connsiteY25" fmla="*/ 1032380 h 2124119"/>
              <a:gd name="connsiteX26" fmla="*/ 205047 w 1313411"/>
              <a:gd name="connsiteY26" fmla="*/ 1071173 h 2124119"/>
              <a:gd name="connsiteX27" fmla="*/ 205047 w 1313411"/>
              <a:gd name="connsiteY27" fmla="*/ 1109966 h 2124119"/>
              <a:gd name="connsiteX28" fmla="*/ 182880 w 1313411"/>
              <a:gd name="connsiteY28" fmla="*/ 1126591 h 2124119"/>
              <a:gd name="connsiteX29" fmla="*/ 182880 w 1313411"/>
              <a:gd name="connsiteY29" fmla="*/ 1126591 h 2124119"/>
              <a:gd name="connsiteX30" fmla="*/ 238298 w 1313411"/>
              <a:gd name="connsiteY30" fmla="*/ 1237428 h 2124119"/>
              <a:gd name="connsiteX31" fmla="*/ 249382 w 1313411"/>
              <a:gd name="connsiteY31" fmla="*/ 1326097 h 2124119"/>
              <a:gd name="connsiteX32" fmla="*/ 282633 w 1313411"/>
              <a:gd name="connsiteY32" fmla="*/ 1348264 h 2124119"/>
              <a:gd name="connsiteX33" fmla="*/ 282633 w 1313411"/>
              <a:gd name="connsiteY33" fmla="*/ 1348264 h 2124119"/>
              <a:gd name="connsiteX34" fmla="*/ 304800 w 1313411"/>
              <a:gd name="connsiteY34" fmla="*/ 1398140 h 2124119"/>
              <a:gd name="connsiteX35" fmla="*/ 321425 w 1313411"/>
              <a:gd name="connsiteY35" fmla="*/ 1425849 h 2124119"/>
              <a:gd name="connsiteX36" fmla="*/ 326967 w 1313411"/>
              <a:gd name="connsiteY36" fmla="*/ 1470184 h 2124119"/>
              <a:gd name="connsiteX37" fmla="*/ 299258 w 1313411"/>
              <a:gd name="connsiteY37" fmla="*/ 1514519 h 2124119"/>
              <a:gd name="connsiteX38" fmla="*/ 315883 w 1313411"/>
              <a:gd name="connsiteY38" fmla="*/ 1553311 h 2124119"/>
              <a:gd name="connsiteX39" fmla="*/ 410094 w 1313411"/>
              <a:gd name="connsiteY39" fmla="*/ 1619813 h 2124119"/>
              <a:gd name="connsiteX40" fmla="*/ 459971 w 1313411"/>
              <a:gd name="connsiteY40" fmla="*/ 1630897 h 2124119"/>
              <a:gd name="connsiteX41" fmla="*/ 465513 w 1313411"/>
              <a:gd name="connsiteY41" fmla="*/ 1614271 h 2124119"/>
              <a:gd name="connsiteX42" fmla="*/ 465513 w 1313411"/>
              <a:gd name="connsiteY42" fmla="*/ 1614271 h 2124119"/>
              <a:gd name="connsiteX43" fmla="*/ 543098 w 1313411"/>
              <a:gd name="connsiteY43" fmla="*/ 1719566 h 2124119"/>
              <a:gd name="connsiteX44" fmla="*/ 604058 w 1313411"/>
              <a:gd name="connsiteY44" fmla="*/ 1741733 h 2124119"/>
              <a:gd name="connsiteX45" fmla="*/ 604058 w 1313411"/>
              <a:gd name="connsiteY45" fmla="*/ 1741733 h 2124119"/>
              <a:gd name="connsiteX46" fmla="*/ 642851 w 1313411"/>
              <a:gd name="connsiteY46" fmla="*/ 1802693 h 2124119"/>
              <a:gd name="connsiteX47" fmla="*/ 703811 w 1313411"/>
              <a:gd name="connsiteY47" fmla="*/ 1841486 h 2124119"/>
              <a:gd name="connsiteX48" fmla="*/ 775854 w 1313411"/>
              <a:gd name="connsiteY48" fmla="*/ 1930155 h 2124119"/>
              <a:gd name="connsiteX49" fmla="*/ 786938 w 1313411"/>
              <a:gd name="connsiteY49" fmla="*/ 2024366 h 2124119"/>
              <a:gd name="connsiteX50" fmla="*/ 803563 w 1313411"/>
              <a:gd name="connsiteY50" fmla="*/ 2057617 h 2124119"/>
              <a:gd name="connsiteX51" fmla="*/ 809105 w 1313411"/>
              <a:gd name="connsiteY51" fmla="*/ 2090868 h 2124119"/>
              <a:gd name="connsiteX52" fmla="*/ 1197033 w 1313411"/>
              <a:gd name="connsiteY52" fmla="*/ 2124119 h 2124119"/>
              <a:gd name="connsiteX53" fmla="*/ 1230283 w 1313411"/>
              <a:gd name="connsiteY53" fmla="*/ 2096409 h 2124119"/>
              <a:gd name="connsiteX54" fmla="*/ 1213658 w 1313411"/>
              <a:gd name="connsiteY54" fmla="*/ 2018824 h 2124119"/>
              <a:gd name="connsiteX55" fmla="*/ 1263534 w 1313411"/>
              <a:gd name="connsiteY55" fmla="*/ 1913529 h 2124119"/>
              <a:gd name="connsiteX56" fmla="*/ 1285702 w 1313411"/>
              <a:gd name="connsiteY56" fmla="*/ 1874737 h 2124119"/>
              <a:gd name="connsiteX57" fmla="*/ 1313411 w 1313411"/>
              <a:gd name="connsiteY57" fmla="*/ 1813777 h 2124119"/>
              <a:gd name="connsiteX58" fmla="*/ 1252451 w 1313411"/>
              <a:gd name="connsiteY58" fmla="*/ 1664148 h 2124119"/>
              <a:gd name="connsiteX59" fmla="*/ 576349 w 1313411"/>
              <a:gd name="connsiteY59" fmla="*/ 722039 h 2124119"/>
              <a:gd name="connsiteX60" fmla="*/ 696710 w 1313411"/>
              <a:gd name="connsiteY60" fmla="*/ 167813 h 2124119"/>
              <a:gd name="connsiteX61" fmla="*/ 256872 w 1313411"/>
              <a:gd name="connsiteY61" fmla="*/ 43339 h 2124119"/>
              <a:gd name="connsiteX62" fmla="*/ 106896 w 1313411"/>
              <a:gd name="connsiteY62" fmla="*/ 0 h 2124119"/>
              <a:gd name="connsiteX0" fmla="*/ 106896 w 1333018"/>
              <a:gd name="connsiteY0" fmla="*/ 0 h 2124119"/>
              <a:gd name="connsiteX1" fmla="*/ 83041 w 1333018"/>
              <a:gd name="connsiteY1" fmla="*/ 21908 h 2124119"/>
              <a:gd name="connsiteX2" fmla="*/ 99753 w 1333018"/>
              <a:gd name="connsiteY2" fmla="*/ 68104 h 2124119"/>
              <a:gd name="connsiteX3" fmla="*/ 94211 w 1333018"/>
              <a:gd name="connsiteY3" fmla="*/ 106897 h 2124119"/>
              <a:gd name="connsiteX4" fmla="*/ 72043 w 1333018"/>
              <a:gd name="connsiteY4" fmla="*/ 145689 h 2124119"/>
              <a:gd name="connsiteX5" fmla="*/ 83127 w 1333018"/>
              <a:gd name="connsiteY5" fmla="*/ 201108 h 2124119"/>
              <a:gd name="connsiteX6" fmla="*/ 0 w 1333018"/>
              <a:gd name="connsiteY6" fmla="*/ 262068 h 2124119"/>
              <a:gd name="connsiteX7" fmla="*/ 0 w 1333018"/>
              <a:gd name="connsiteY7" fmla="*/ 306402 h 2124119"/>
              <a:gd name="connsiteX8" fmla="*/ 38793 w 1333018"/>
              <a:gd name="connsiteY8" fmla="*/ 395071 h 2124119"/>
              <a:gd name="connsiteX9" fmla="*/ 38793 w 1333018"/>
              <a:gd name="connsiteY9" fmla="*/ 433864 h 2124119"/>
              <a:gd name="connsiteX10" fmla="*/ 22167 w 1333018"/>
              <a:gd name="connsiteY10" fmla="*/ 583493 h 2124119"/>
              <a:gd name="connsiteX11" fmla="*/ 49876 w 1333018"/>
              <a:gd name="connsiteY11" fmla="*/ 677704 h 2124119"/>
              <a:gd name="connsiteX12" fmla="*/ 77585 w 1333018"/>
              <a:gd name="connsiteY12" fmla="*/ 710955 h 2124119"/>
              <a:gd name="connsiteX13" fmla="*/ 83127 w 1333018"/>
              <a:gd name="connsiteY13" fmla="*/ 749748 h 2124119"/>
              <a:gd name="connsiteX14" fmla="*/ 72043 w 1333018"/>
              <a:gd name="connsiteY14" fmla="*/ 821791 h 2124119"/>
              <a:gd name="connsiteX15" fmla="*/ 121920 w 1333018"/>
              <a:gd name="connsiteY15" fmla="*/ 832875 h 2124119"/>
              <a:gd name="connsiteX16" fmla="*/ 144087 w 1333018"/>
              <a:gd name="connsiteY16" fmla="*/ 832875 h 2124119"/>
              <a:gd name="connsiteX17" fmla="*/ 166254 w 1333018"/>
              <a:gd name="connsiteY17" fmla="*/ 799624 h 2124119"/>
              <a:gd name="connsiteX18" fmla="*/ 182880 w 1333018"/>
              <a:gd name="connsiteY18" fmla="*/ 788540 h 2124119"/>
              <a:gd name="connsiteX19" fmla="*/ 193963 w 1333018"/>
              <a:gd name="connsiteY19" fmla="*/ 832875 h 2124119"/>
              <a:gd name="connsiteX20" fmla="*/ 188422 w 1333018"/>
              <a:gd name="connsiteY20" fmla="*/ 882751 h 2124119"/>
              <a:gd name="connsiteX21" fmla="*/ 182880 w 1333018"/>
              <a:gd name="connsiteY21" fmla="*/ 899377 h 2124119"/>
              <a:gd name="connsiteX22" fmla="*/ 149629 w 1333018"/>
              <a:gd name="connsiteY22" fmla="*/ 893835 h 2124119"/>
              <a:gd name="connsiteX23" fmla="*/ 133003 w 1333018"/>
              <a:gd name="connsiteY23" fmla="*/ 949253 h 2124119"/>
              <a:gd name="connsiteX24" fmla="*/ 144087 w 1333018"/>
              <a:gd name="connsiteY24" fmla="*/ 1004671 h 2124119"/>
              <a:gd name="connsiteX25" fmla="*/ 171796 w 1333018"/>
              <a:gd name="connsiteY25" fmla="*/ 1032380 h 2124119"/>
              <a:gd name="connsiteX26" fmla="*/ 205047 w 1333018"/>
              <a:gd name="connsiteY26" fmla="*/ 1071173 h 2124119"/>
              <a:gd name="connsiteX27" fmla="*/ 205047 w 1333018"/>
              <a:gd name="connsiteY27" fmla="*/ 1109966 h 2124119"/>
              <a:gd name="connsiteX28" fmla="*/ 182880 w 1333018"/>
              <a:gd name="connsiteY28" fmla="*/ 1126591 h 2124119"/>
              <a:gd name="connsiteX29" fmla="*/ 182880 w 1333018"/>
              <a:gd name="connsiteY29" fmla="*/ 1126591 h 2124119"/>
              <a:gd name="connsiteX30" fmla="*/ 238298 w 1333018"/>
              <a:gd name="connsiteY30" fmla="*/ 1237428 h 2124119"/>
              <a:gd name="connsiteX31" fmla="*/ 249382 w 1333018"/>
              <a:gd name="connsiteY31" fmla="*/ 1326097 h 2124119"/>
              <a:gd name="connsiteX32" fmla="*/ 282633 w 1333018"/>
              <a:gd name="connsiteY32" fmla="*/ 1348264 h 2124119"/>
              <a:gd name="connsiteX33" fmla="*/ 282633 w 1333018"/>
              <a:gd name="connsiteY33" fmla="*/ 1348264 h 2124119"/>
              <a:gd name="connsiteX34" fmla="*/ 304800 w 1333018"/>
              <a:gd name="connsiteY34" fmla="*/ 1398140 h 2124119"/>
              <a:gd name="connsiteX35" fmla="*/ 321425 w 1333018"/>
              <a:gd name="connsiteY35" fmla="*/ 1425849 h 2124119"/>
              <a:gd name="connsiteX36" fmla="*/ 326967 w 1333018"/>
              <a:gd name="connsiteY36" fmla="*/ 1470184 h 2124119"/>
              <a:gd name="connsiteX37" fmla="*/ 299258 w 1333018"/>
              <a:gd name="connsiteY37" fmla="*/ 1514519 h 2124119"/>
              <a:gd name="connsiteX38" fmla="*/ 315883 w 1333018"/>
              <a:gd name="connsiteY38" fmla="*/ 1553311 h 2124119"/>
              <a:gd name="connsiteX39" fmla="*/ 410094 w 1333018"/>
              <a:gd name="connsiteY39" fmla="*/ 1619813 h 2124119"/>
              <a:gd name="connsiteX40" fmla="*/ 459971 w 1333018"/>
              <a:gd name="connsiteY40" fmla="*/ 1630897 h 2124119"/>
              <a:gd name="connsiteX41" fmla="*/ 465513 w 1333018"/>
              <a:gd name="connsiteY41" fmla="*/ 1614271 h 2124119"/>
              <a:gd name="connsiteX42" fmla="*/ 465513 w 1333018"/>
              <a:gd name="connsiteY42" fmla="*/ 1614271 h 2124119"/>
              <a:gd name="connsiteX43" fmla="*/ 543098 w 1333018"/>
              <a:gd name="connsiteY43" fmla="*/ 1719566 h 2124119"/>
              <a:gd name="connsiteX44" fmla="*/ 604058 w 1333018"/>
              <a:gd name="connsiteY44" fmla="*/ 1741733 h 2124119"/>
              <a:gd name="connsiteX45" fmla="*/ 604058 w 1333018"/>
              <a:gd name="connsiteY45" fmla="*/ 1741733 h 2124119"/>
              <a:gd name="connsiteX46" fmla="*/ 642851 w 1333018"/>
              <a:gd name="connsiteY46" fmla="*/ 1802693 h 2124119"/>
              <a:gd name="connsiteX47" fmla="*/ 703811 w 1333018"/>
              <a:gd name="connsiteY47" fmla="*/ 1841486 h 2124119"/>
              <a:gd name="connsiteX48" fmla="*/ 775854 w 1333018"/>
              <a:gd name="connsiteY48" fmla="*/ 1930155 h 2124119"/>
              <a:gd name="connsiteX49" fmla="*/ 786938 w 1333018"/>
              <a:gd name="connsiteY49" fmla="*/ 2024366 h 2124119"/>
              <a:gd name="connsiteX50" fmla="*/ 803563 w 1333018"/>
              <a:gd name="connsiteY50" fmla="*/ 2057617 h 2124119"/>
              <a:gd name="connsiteX51" fmla="*/ 809105 w 1333018"/>
              <a:gd name="connsiteY51" fmla="*/ 2090868 h 2124119"/>
              <a:gd name="connsiteX52" fmla="*/ 1197033 w 1333018"/>
              <a:gd name="connsiteY52" fmla="*/ 2124119 h 2124119"/>
              <a:gd name="connsiteX53" fmla="*/ 1230283 w 1333018"/>
              <a:gd name="connsiteY53" fmla="*/ 2096409 h 2124119"/>
              <a:gd name="connsiteX54" fmla="*/ 1213658 w 1333018"/>
              <a:gd name="connsiteY54" fmla="*/ 2018824 h 2124119"/>
              <a:gd name="connsiteX55" fmla="*/ 1263534 w 1333018"/>
              <a:gd name="connsiteY55" fmla="*/ 1913529 h 2124119"/>
              <a:gd name="connsiteX56" fmla="*/ 1285702 w 1333018"/>
              <a:gd name="connsiteY56" fmla="*/ 1874737 h 2124119"/>
              <a:gd name="connsiteX57" fmla="*/ 1333018 w 1333018"/>
              <a:gd name="connsiteY57" fmla="*/ 1835246 h 2124119"/>
              <a:gd name="connsiteX58" fmla="*/ 1252451 w 1333018"/>
              <a:gd name="connsiteY58" fmla="*/ 1664148 h 2124119"/>
              <a:gd name="connsiteX59" fmla="*/ 576349 w 1333018"/>
              <a:gd name="connsiteY59" fmla="*/ 722039 h 2124119"/>
              <a:gd name="connsiteX60" fmla="*/ 696710 w 1333018"/>
              <a:gd name="connsiteY60" fmla="*/ 167813 h 2124119"/>
              <a:gd name="connsiteX61" fmla="*/ 256872 w 1333018"/>
              <a:gd name="connsiteY61" fmla="*/ 43339 h 2124119"/>
              <a:gd name="connsiteX62" fmla="*/ 106896 w 1333018"/>
              <a:gd name="connsiteY62" fmla="*/ 0 h 2124119"/>
              <a:gd name="connsiteX0" fmla="*/ 106896 w 1333018"/>
              <a:gd name="connsiteY0" fmla="*/ 0 h 2124119"/>
              <a:gd name="connsiteX1" fmla="*/ 83041 w 1333018"/>
              <a:gd name="connsiteY1" fmla="*/ 21908 h 2124119"/>
              <a:gd name="connsiteX2" fmla="*/ 99753 w 1333018"/>
              <a:gd name="connsiteY2" fmla="*/ 68104 h 2124119"/>
              <a:gd name="connsiteX3" fmla="*/ 94211 w 1333018"/>
              <a:gd name="connsiteY3" fmla="*/ 106897 h 2124119"/>
              <a:gd name="connsiteX4" fmla="*/ 72043 w 1333018"/>
              <a:gd name="connsiteY4" fmla="*/ 145689 h 2124119"/>
              <a:gd name="connsiteX5" fmla="*/ 83127 w 1333018"/>
              <a:gd name="connsiteY5" fmla="*/ 201108 h 2124119"/>
              <a:gd name="connsiteX6" fmla="*/ 0 w 1333018"/>
              <a:gd name="connsiteY6" fmla="*/ 262068 h 2124119"/>
              <a:gd name="connsiteX7" fmla="*/ 0 w 1333018"/>
              <a:gd name="connsiteY7" fmla="*/ 306402 h 2124119"/>
              <a:gd name="connsiteX8" fmla="*/ 38793 w 1333018"/>
              <a:gd name="connsiteY8" fmla="*/ 395071 h 2124119"/>
              <a:gd name="connsiteX9" fmla="*/ 38793 w 1333018"/>
              <a:gd name="connsiteY9" fmla="*/ 433864 h 2124119"/>
              <a:gd name="connsiteX10" fmla="*/ 22167 w 1333018"/>
              <a:gd name="connsiteY10" fmla="*/ 583493 h 2124119"/>
              <a:gd name="connsiteX11" fmla="*/ 49876 w 1333018"/>
              <a:gd name="connsiteY11" fmla="*/ 677704 h 2124119"/>
              <a:gd name="connsiteX12" fmla="*/ 77585 w 1333018"/>
              <a:gd name="connsiteY12" fmla="*/ 710955 h 2124119"/>
              <a:gd name="connsiteX13" fmla="*/ 83127 w 1333018"/>
              <a:gd name="connsiteY13" fmla="*/ 749748 h 2124119"/>
              <a:gd name="connsiteX14" fmla="*/ 72043 w 1333018"/>
              <a:gd name="connsiteY14" fmla="*/ 821791 h 2124119"/>
              <a:gd name="connsiteX15" fmla="*/ 121920 w 1333018"/>
              <a:gd name="connsiteY15" fmla="*/ 832875 h 2124119"/>
              <a:gd name="connsiteX16" fmla="*/ 144087 w 1333018"/>
              <a:gd name="connsiteY16" fmla="*/ 832875 h 2124119"/>
              <a:gd name="connsiteX17" fmla="*/ 166254 w 1333018"/>
              <a:gd name="connsiteY17" fmla="*/ 799624 h 2124119"/>
              <a:gd name="connsiteX18" fmla="*/ 182880 w 1333018"/>
              <a:gd name="connsiteY18" fmla="*/ 788540 h 2124119"/>
              <a:gd name="connsiteX19" fmla="*/ 193963 w 1333018"/>
              <a:gd name="connsiteY19" fmla="*/ 832875 h 2124119"/>
              <a:gd name="connsiteX20" fmla="*/ 188422 w 1333018"/>
              <a:gd name="connsiteY20" fmla="*/ 882751 h 2124119"/>
              <a:gd name="connsiteX21" fmla="*/ 182880 w 1333018"/>
              <a:gd name="connsiteY21" fmla="*/ 899377 h 2124119"/>
              <a:gd name="connsiteX22" fmla="*/ 149629 w 1333018"/>
              <a:gd name="connsiteY22" fmla="*/ 893835 h 2124119"/>
              <a:gd name="connsiteX23" fmla="*/ 133003 w 1333018"/>
              <a:gd name="connsiteY23" fmla="*/ 949253 h 2124119"/>
              <a:gd name="connsiteX24" fmla="*/ 144087 w 1333018"/>
              <a:gd name="connsiteY24" fmla="*/ 1004671 h 2124119"/>
              <a:gd name="connsiteX25" fmla="*/ 171796 w 1333018"/>
              <a:gd name="connsiteY25" fmla="*/ 1032380 h 2124119"/>
              <a:gd name="connsiteX26" fmla="*/ 205047 w 1333018"/>
              <a:gd name="connsiteY26" fmla="*/ 1071173 h 2124119"/>
              <a:gd name="connsiteX27" fmla="*/ 205047 w 1333018"/>
              <a:gd name="connsiteY27" fmla="*/ 1109966 h 2124119"/>
              <a:gd name="connsiteX28" fmla="*/ 182880 w 1333018"/>
              <a:gd name="connsiteY28" fmla="*/ 1126591 h 2124119"/>
              <a:gd name="connsiteX29" fmla="*/ 182880 w 1333018"/>
              <a:gd name="connsiteY29" fmla="*/ 1126591 h 2124119"/>
              <a:gd name="connsiteX30" fmla="*/ 238298 w 1333018"/>
              <a:gd name="connsiteY30" fmla="*/ 1237428 h 2124119"/>
              <a:gd name="connsiteX31" fmla="*/ 249382 w 1333018"/>
              <a:gd name="connsiteY31" fmla="*/ 1326097 h 2124119"/>
              <a:gd name="connsiteX32" fmla="*/ 282633 w 1333018"/>
              <a:gd name="connsiteY32" fmla="*/ 1348264 h 2124119"/>
              <a:gd name="connsiteX33" fmla="*/ 282633 w 1333018"/>
              <a:gd name="connsiteY33" fmla="*/ 1348264 h 2124119"/>
              <a:gd name="connsiteX34" fmla="*/ 304800 w 1333018"/>
              <a:gd name="connsiteY34" fmla="*/ 1398140 h 2124119"/>
              <a:gd name="connsiteX35" fmla="*/ 321425 w 1333018"/>
              <a:gd name="connsiteY35" fmla="*/ 1425849 h 2124119"/>
              <a:gd name="connsiteX36" fmla="*/ 326967 w 1333018"/>
              <a:gd name="connsiteY36" fmla="*/ 1470184 h 2124119"/>
              <a:gd name="connsiteX37" fmla="*/ 299258 w 1333018"/>
              <a:gd name="connsiteY37" fmla="*/ 1514519 h 2124119"/>
              <a:gd name="connsiteX38" fmla="*/ 315883 w 1333018"/>
              <a:gd name="connsiteY38" fmla="*/ 1553311 h 2124119"/>
              <a:gd name="connsiteX39" fmla="*/ 410094 w 1333018"/>
              <a:gd name="connsiteY39" fmla="*/ 1619813 h 2124119"/>
              <a:gd name="connsiteX40" fmla="*/ 459971 w 1333018"/>
              <a:gd name="connsiteY40" fmla="*/ 1630897 h 2124119"/>
              <a:gd name="connsiteX41" fmla="*/ 465513 w 1333018"/>
              <a:gd name="connsiteY41" fmla="*/ 1614271 h 2124119"/>
              <a:gd name="connsiteX42" fmla="*/ 465513 w 1333018"/>
              <a:gd name="connsiteY42" fmla="*/ 1614271 h 2124119"/>
              <a:gd name="connsiteX43" fmla="*/ 543098 w 1333018"/>
              <a:gd name="connsiteY43" fmla="*/ 1719566 h 2124119"/>
              <a:gd name="connsiteX44" fmla="*/ 604058 w 1333018"/>
              <a:gd name="connsiteY44" fmla="*/ 1741733 h 2124119"/>
              <a:gd name="connsiteX45" fmla="*/ 604058 w 1333018"/>
              <a:gd name="connsiteY45" fmla="*/ 1741733 h 2124119"/>
              <a:gd name="connsiteX46" fmla="*/ 642851 w 1333018"/>
              <a:gd name="connsiteY46" fmla="*/ 1802693 h 2124119"/>
              <a:gd name="connsiteX47" fmla="*/ 703811 w 1333018"/>
              <a:gd name="connsiteY47" fmla="*/ 1841486 h 2124119"/>
              <a:gd name="connsiteX48" fmla="*/ 775854 w 1333018"/>
              <a:gd name="connsiteY48" fmla="*/ 1930155 h 2124119"/>
              <a:gd name="connsiteX49" fmla="*/ 786938 w 1333018"/>
              <a:gd name="connsiteY49" fmla="*/ 2024366 h 2124119"/>
              <a:gd name="connsiteX50" fmla="*/ 803563 w 1333018"/>
              <a:gd name="connsiteY50" fmla="*/ 2057617 h 2124119"/>
              <a:gd name="connsiteX51" fmla="*/ 809105 w 1333018"/>
              <a:gd name="connsiteY51" fmla="*/ 2090868 h 2124119"/>
              <a:gd name="connsiteX52" fmla="*/ 1197033 w 1333018"/>
              <a:gd name="connsiteY52" fmla="*/ 2124119 h 2124119"/>
              <a:gd name="connsiteX53" fmla="*/ 1230283 w 1333018"/>
              <a:gd name="connsiteY53" fmla="*/ 2096409 h 2124119"/>
              <a:gd name="connsiteX54" fmla="*/ 1213658 w 1333018"/>
              <a:gd name="connsiteY54" fmla="*/ 2018824 h 2124119"/>
              <a:gd name="connsiteX55" fmla="*/ 1263534 w 1333018"/>
              <a:gd name="connsiteY55" fmla="*/ 1913529 h 2124119"/>
              <a:gd name="connsiteX56" fmla="*/ 1285702 w 1333018"/>
              <a:gd name="connsiteY56" fmla="*/ 1874737 h 2124119"/>
              <a:gd name="connsiteX57" fmla="*/ 1333018 w 1333018"/>
              <a:gd name="connsiteY57" fmla="*/ 1835246 h 2124119"/>
              <a:gd name="connsiteX58" fmla="*/ 1262504 w 1333018"/>
              <a:gd name="connsiteY58" fmla="*/ 1661801 h 2124119"/>
              <a:gd name="connsiteX59" fmla="*/ 576349 w 1333018"/>
              <a:gd name="connsiteY59" fmla="*/ 722039 h 2124119"/>
              <a:gd name="connsiteX60" fmla="*/ 696710 w 1333018"/>
              <a:gd name="connsiteY60" fmla="*/ 167813 h 2124119"/>
              <a:gd name="connsiteX61" fmla="*/ 256872 w 1333018"/>
              <a:gd name="connsiteY61" fmla="*/ 43339 h 2124119"/>
              <a:gd name="connsiteX62" fmla="*/ 106896 w 1333018"/>
              <a:gd name="connsiteY62" fmla="*/ 0 h 2124119"/>
              <a:gd name="connsiteX0" fmla="*/ 106896 w 1333018"/>
              <a:gd name="connsiteY0" fmla="*/ 0 h 2124119"/>
              <a:gd name="connsiteX1" fmla="*/ 83041 w 1333018"/>
              <a:gd name="connsiteY1" fmla="*/ 21908 h 2124119"/>
              <a:gd name="connsiteX2" fmla="*/ 99753 w 1333018"/>
              <a:gd name="connsiteY2" fmla="*/ 68104 h 2124119"/>
              <a:gd name="connsiteX3" fmla="*/ 94211 w 1333018"/>
              <a:gd name="connsiteY3" fmla="*/ 106897 h 2124119"/>
              <a:gd name="connsiteX4" fmla="*/ 72043 w 1333018"/>
              <a:gd name="connsiteY4" fmla="*/ 145689 h 2124119"/>
              <a:gd name="connsiteX5" fmla="*/ 83127 w 1333018"/>
              <a:gd name="connsiteY5" fmla="*/ 201108 h 2124119"/>
              <a:gd name="connsiteX6" fmla="*/ 0 w 1333018"/>
              <a:gd name="connsiteY6" fmla="*/ 262068 h 2124119"/>
              <a:gd name="connsiteX7" fmla="*/ 0 w 1333018"/>
              <a:gd name="connsiteY7" fmla="*/ 306402 h 2124119"/>
              <a:gd name="connsiteX8" fmla="*/ 38793 w 1333018"/>
              <a:gd name="connsiteY8" fmla="*/ 395071 h 2124119"/>
              <a:gd name="connsiteX9" fmla="*/ 38793 w 1333018"/>
              <a:gd name="connsiteY9" fmla="*/ 433864 h 2124119"/>
              <a:gd name="connsiteX10" fmla="*/ 22167 w 1333018"/>
              <a:gd name="connsiteY10" fmla="*/ 583493 h 2124119"/>
              <a:gd name="connsiteX11" fmla="*/ 49876 w 1333018"/>
              <a:gd name="connsiteY11" fmla="*/ 677704 h 2124119"/>
              <a:gd name="connsiteX12" fmla="*/ 77585 w 1333018"/>
              <a:gd name="connsiteY12" fmla="*/ 710955 h 2124119"/>
              <a:gd name="connsiteX13" fmla="*/ 83127 w 1333018"/>
              <a:gd name="connsiteY13" fmla="*/ 749748 h 2124119"/>
              <a:gd name="connsiteX14" fmla="*/ 72043 w 1333018"/>
              <a:gd name="connsiteY14" fmla="*/ 821791 h 2124119"/>
              <a:gd name="connsiteX15" fmla="*/ 121920 w 1333018"/>
              <a:gd name="connsiteY15" fmla="*/ 832875 h 2124119"/>
              <a:gd name="connsiteX16" fmla="*/ 144087 w 1333018"/>
              <a:gd name="connsiteY16" fmla="*/ 832875 h 2124119"/>
              <a:gd name="connsiteX17" fmla="*/ 166254 w 1333018"/>
              <a:gd name="connsiteY17" fmla="*/ 799624 h 2124119"/>
              <a:gd name="connsiteX18" fmla="*/ 182880 w 1333018"/>
              <a:gd name="connsiteY18" fmla="*/ 788540 h 2124119"/>
              <a:gd name="connsiteX19" fmla="*/ 193963 w 1333018"/>
              <a:gd name="connsiteY19" fmla="*/ 832875 h 2124119"/>
              <a:gd name="connsiteX20" fmla="*/ 188422 w 1333018"/>
              <a:gd name="connsiteY20" fmla="*/ 882751 h 2124119"/>
              <a:gd name="connsiteX21" fmla="*/ 182880 w 1333018"/>
              <a:gd name="connsiteY21" fmla="*/ 899377 h 2124119"/>
              <a:gd name="connsiteX22" fmla="*/ 149629 w 1333018"/>
              <a:gd name="connsiteY22" fmla="*/ 893835 h 2124119"/>
              <a:gd name="connsiteX23" fmla="*/ 133003 w 1333018"/>
              <a:gd name="connsiteY23" fmla="*/ 949253 h 2124119"/>
              <a:gd name="connsiteX24" fmla="*/ 144087 w 1333018"/>
              <a:gd name="connsiteY24" fmla="*/ 1004671 h 2124119"/>
              <a:gd name="connsiteX25" fmla="*/ 171796 w 1333018"/>
              <a:gd name="connsiteY25" fmla="*/ 1032380 h 2124119"/>
              <a:gd name="connsiteX26" fmla="*/ 205047 w 1333018"/>
              <a:gd name="connsiteY26" fmla="*/ 1071173 h 2124119"/>
              <a:gd name="connsiteX27" fmla="*/ 205047 w 1333018"/>
              <a:gd name="connsiteY27" fmla="*/ 1109966 h 2124119"/>
              <a:gd name="connsiteX28" fmla="*/ 182880 w 1333018"/>
              <a:gd name="connsiteY28" fmla="*/ 1126591 h 2124119"/>
              <a:gd name="connsiteX29" fmla="*/ 182880 w 1333018"/>
              <a:gd name="connsiteY29" fmla="*/ 1126591 h 2124119"/>
              <a:gd name="connsiteX30" fmla="*/ 238298 w 1333018"/>
              <a:gd name="connsiteY30" fmla="*/ 1237428 h 2124119"/>
              <a:gd name="connsiteX31" fmla="*/ 249382 w 1333018"/>
              <a:gd name="connsiteY31" fmla="*/ 1326097 h 2124119"/>
              <a:gd name="connsiteX32" fmla="*/ 282633 w 1333018"/>
              <a:gd name="connsiteY32" fmla="*/ 1348264 h 2124119"/>
              <a:gd name="connsiteX33" fmla="*/ 282633 w 1333018"/>
              <a:gd name="connsiteY33" fmla="*/ 1348264 h 2124119"/>
              <a:gd name="connsiteX34" fmla="*/ 304800 w 1333018"/>
              <a:gd name="connsiteY34" fmla="*/ 1398140 h 2124119"/>
              <a:gd name="connsiteX35" fmla="*/ 321425 w 1333018"/>
              <a:gd name="connsiteY35" fmla="*/ 1425849 h 2124119"/>
              <a:gd name="connsiteX36" fmla="*/ 326967 w 1333018"/>
              <a:gd name="connsiteY36" fmla="*/ 1470184 h 2124119"/>
              <a:gd name="connsiteX37" fmla="*/ 299258 w 1333018"/>
              <a:gd name="connsiteY37" fmla="*/ 1514519 h 2124119"/>
              <a:gd name="connsiteX38" fmla="*/ 315883 w 1333018"/>
              <a:gd name="connsiteY38" fmla="*/ 1553311 h 2124119"/>
              <a:gd name="connsiteX39" fmla="*/ 410094 w 1333018"/>
              <a:gd name="connsiteY39" fmla="*/ 1619813 h 2124119"/>
              <a:gd name="connsiteX40" fmla="*/ 459971 w 1333018"/>
              <a:gd name="connsiteY40" fmla="*/ 1630897 h 2124119"/>
              <a:gd name="connsiteX41" fmla="*/ 465513 w 1333018"/>
              <a:gd name="connsiteY41" fmla="*/ 1614271 h 2124119"/>
              <a:gd name="connsiteX42" fmla="*/ 465513 w 1333018"/>
              <a:gd name="connsiteY42" fmla="*/ 1614271 h 2124119"/>
              <a:gd name="connsiteX43" fmla="*/ 543098 w 1333018"/>
              <a:gd name="connsiteY43" fmla="*/ 1719566 h 2124119"/>
              <a:gd name="connsiteX44" fmla="*/ 604058 w 1333018"/>
              <a:gd name="connsiteY44" fmla="*/ 1741733 h 2124119"/>
              <a:gd name="connsiteX45" fmla="*/ 604058 w 1333018"/>
              <a:gd name="connsiteY45" fmla="*/ 1741733 h 2124119"/>
              <a:gd name="connsiteX46" fmla="*/ 642851 w 1333018"/>
              <a:gd name="connsiteY46" fmla="*/ 1802693 h 2124119"/>
              <a:gd name="connsiteX47" fmla="*/ 703811 w 1333018"/>
              <a:gd name="connsiteY47" fmla="*/ 1841486 h 2124119"/>
              <a:gd name="connsiteX48" fmla="*/ 775854 w 1333018"/>
              <a:gd name="connsiteY48" fmla="*/ 1930155 h 2124119"/>
              <a:gd name="connsiteX49" fmla="*/ 786938 w 1333018"/>
              <a:gd name="connsiteY49" fmla="*/ 2024366 h 2124119"/>
              <a:gd name="connsiteX50" fmla="*/ 803563 w 1333018"/>
              <a:gd name="connsiteY50" fmla="*/ 2057617 h 2124119"/>
              <a:gd name="connsiteX51" fmla="*/ 809105 w 1333018"/>
              <a:gd name="connsiteY51" fmla="*/ 2090868 h 2124119"/>
              <a:gd name="connsiteX52" fmla="*/ 1197033 w 1333018"/>
              <a:gd name="connsiteY52" fmla="*/ 2124119 h 2124119"/>
              <a:gd name="connsiteX53" fmla="*/ 1230283 w 1333018"/>
              <a:gd name="connsiteY53" fmla="*/ 2096409 h 2124119"/>
              <a:gd name="connsiteX54" fmla="*/ 1213658 w 1333018"/>
              <a:gd name="connsiteY54" fmla="*/ 2018824 h 2124119"/>
              <a:gd name="connsiteX55" fmla="*/ 1264062 w 1333018"/>
              <a:gd name="connsiteY55" fmla="*/ 1946907 h 2124119"/>
              <a:gd name="connsiteX56" fmla="*/ 1285702 w 1333018"/>
              <a:gd name="connsiteY56" fmla="*/ 1874737 h 2124119"/>
              <a:gd name="connsiteX57" fmla="*/ 1333018 w 1333018"/>
              <a:gd name="connsiteY57" fmla="*/ 1835246 h 2124119"/>
              <a:gd name="connsiteX58" fmla="*/ 1262504 w 1333018"/>
              <a:gd name="connsiteY58" fmla="*/ 1661801 h 2124119"/>
              <a:gd name="connsiteX59" fmla="*/ 576349 w 1333018"/>
              <a:gd name="connsiteY59" fmla="*/ 722039 h 2124119"/>
              <a:gd name="connsiteX60" fmla="*/ 696710 w 1333018"/>
              <a:gd name="connsiteY60" fmla="*/ 167813 h 2124119"/>
              <a:gd name="connsiteX61" fmla="*/ 256872 w 1333018"/>
              <a:gd name="connsiteY61" fmla="*/ 43339 h 2124119"/>
              <a:gd name="connsiteX62" fmla="*/ 106896 w 1333018"/>
              <a:gd name="connsiteY62" fmla="*/ 0 h 212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333018" h="2124119">
                <a:moveTo>
                  <a:pt x="106896" y="0"/>
                </a:moveTo>
                <a:lnTo>
                  <a:pt x="83041" y="21908"/>
                </a:lnTo>
                <a:lnTo>
                  <a:pt x="99753" y="68104"/>
                </a:lnTo>
                <a:lnTo>
                  <a:pt x="94211" y="106897"/>
                </a:lnTo>
                <a:lnTo>
                  <a:pt x="72043" y="145689"/>
                </a:lnTo>
                <a:lnTo>
                  <a:pt x="83127" y="201108"/>
                </a:lnTo>
                <a:lnTo>
                  <a:pt x="0" y="262068"/>
                </a:lnTo>
                <a:lnTo>
                  <a:pt x="0" y="306402"/>
                </a:lnTo>
                <a:lnTo>
                  <a:pt x="38793" y="395071"/>
                </a:lnTo>
                <a:lnTo>
                  <a:pt x="38793" y="433864"/>
                </a:lnTo>
                <a:lnTo>
                  <a:pt x="22167" y="583493"/>
                </a:lnTo>
                <a:lnTo>
                  <a:pt x="49876" y="677704"/>
                </a:lnTo>
                <a:lnTo>
                  <a:pt x="77585" y="710955"/>
                </a:lnTo>
                <a:lnTo>
                  <a:pt x="83127" y="749748"/>
                </a:lnTo>
                <a:lnTo>
                  <a:pt x="72043" y="821791"/>
                </a:lnTo>
                <a:lnTo>
                  <a:pt x="121920" y="832875"/>
                </a:lnTo>
                <a:lnTo>
                  <a:pt x="144087" y="832875"/>
                </a:lnTo>
                <a:lnTo>
                  <a:pt x="166254" y="799624"/>
                </a:lnTo>
                <a:lnTo>
                  <a:pt x="182880" y="788540"/>
                </a:lnTo>
                <a:lnTo>
                  <a:pt x="193963" y="832875"/>
                </a:lnTo>
                <a:lnTo>
                  <a:pt x="188422" y="882751"/>
                </a:lnTo>
                <a:lnTo>
                  <a:pt x="182880" y="899377"/>
                </a:lnTo>
                <a:lnTo>
                  <a:pt x="149629" y="893835"/>
                </a:lnTo>
                <a:lnTo>
                  <a:pt x="133003" y="949253"/>
                </a:lnTo>
                <a:lnTo>
                  <a:pt x="144087" y="1004671"/>
                </a:lnTo>
                <a:lnTo>
                  <a:pt x="171796" y="1032380"/>
                </a:lnTo>
                <a:lnTo>
                  <a:pt x="205047" y="1071173"/>
                </a:lnTo>
                <a:lnTo>
                  <a:pt x="205047" y="1109966"/>
                </a:lnTo>
                <a:lnTo>
                  <a:pt x="182880" y="1126591"/>
                </a:lnTo>
                <a:lnTo>
                  <a:pt x="182880" y="1126591"/>
                </a:lnTo>
                <a:lnTo>
                  <a:pt x="238298" y="1237428"/>
                </a:lnTo>
                <a:lnTo>
                  <a:pt x="249382" y="1326097"/>
                </a:lnTo>
                <a:lnTo>
                  <a:pt x="282633" y="1348264"/>
                </a:lnTo>
                <a:lnTo>
                  <a:pt x="282633" y="1348264"/>
                </a:lnTo>
                <a:lnTo>
                  <a:pt x="304800" y="1398140"/>
                </a:lnTo>
                <a:lnTo>
                  <a:pt x="321425" y="1425849"/>
                </a:lnTo>
                <a:lnTo>
                  <a:pt x="326967" y="1470184"/>
                </a:lnTo>
                <a:lnTo>
                  <a:pt x="299258" y="1514519"/>
                </a:lnTo>
                <a:lnTo>
                  <a:pt x="315883" y="1553311"/>
                </a:lnTo>
                <a:lnTo>
                  <a:pt x="410094" y="1619813"/>
                </a:lnTo>
                <a:lnTo>
                  <a:pt x="459971" y="1630897"/>
                </a:lnTo>
                <a:lnTo>
                  <a:pt x="465513" y="1614271"/>
                </a:lnTo>
                <a:lnTo>
                  <a:pt x="465513" y="1614271"/>
                </a:lnTo>
                <a:lnTo>
                  <a:pt x="543098" y="1719566"/>
                </a:lnTo>
                <a:lnTo>
                  <a:pt x="604058" y="1741733"/>
                </a:lnTo>
                <a:lnTo>
                  <a:pt x="604058" y="1741733"/>
                </a:lnTo>
                <a:lnTo>
                  <a:pt x="642851" y="1802693"/>
                </a:lnTo>
                <a:lnTo>
                  <a:pt x="703811" y="1841486"/>
                </a:lnTo>
                <a:lnTo>
                  <a:pt x="775854" y="1930155"/>
                </a:lnTo>
                <a:lnTo>
                  <a:pt x="786938" y="2024366"/>
                </a:lnTo>
                <a:lnTo>
                  <a:pt x="803563" y="2057617"/>
                </a:lnTo>
                <a:lnTo>
                  <a:pt x="809105" y="2090868"/>
                </a:lnTo>
                <a:lnTo>
                  <a:pt x="1197033" y="2124119"/>
                </a:lnTo>
                <a:lnTo>
                  <a:pt x="1230283" y="2096409"/>
                </a:lnTo>
                <a:lnTo>
                  <a:pt x="1213658" y="2018824"/>
                </a:lnTo>
                <a:lnTo>
                  <a:pt x="1264062" y="1946907"/>
                </a:lnTo>
                <a:lnTo>
                  <a:pt x="1285702" y="1874737"/>
                </a:lnTo>
                <a:lnTo>
                  <a:pt x="1333018" y="1835246"/>
                </a:lnTo>
                <a:lnTo>
                  <a:pt x="1262504" y="1661801"/>
                </a:lnTo>
                <a:lnTo>
                  <a:pt x="576349" y="722039"/>
                </a:lnTo>
                <a:lnTo>
                  <a:pt x="696710" y="167813"/>
                </a:lnTo>
                <a:lnTo>
                  <a:pt x="256872" y="43339"/>
                </a:lnTo>
                <a:lnTo>
                  <a:pt x="10689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5267118" y="4909666"/>
            <a:ext cx="852961" cy="752777"/>
          </a:xfrm>
          <a:custGeom>
            <a:avLst/>
            <a:gdLst>
              <a:gd name="connsiteX0" fmla="*/ 0 w 883066"/>
              <a:gd name="connsiteY0" fmla="*/ 62670 h 774819"/>
              <a:gd name="connsiteX1" fmla="*/ 14243 w 883066"/>
              <a:gd name="connsiteY1" fmla="*/ 188008 h 774819"/>
              <a:gd name="connsiteX2" fmla="*/ 17092 w 883066"/>
              <a:gd name="connsiteY2" fmla="*/ 253526 h 774819"/>
              <a:gd name="connsiteX3" fmla="*/ 39881 w 883066"/>
              <a:gd name="connsiteY3" fmla="*/ 313346 h 774819"/>
              <a:gd name="connsiteX4" fmla="*/ 76912 w 883066"/>
              <a:gd name="connsiteY4" fmla="*/ 361772 h 774819"/>
              <a:gd name="connsiteX5" fmla="*/ 108247 w 883066"/>
              <a:gd name="connsiteY5" fmla="*/ 450079 h 774819"/>
              <a:gd name="connsiteX6" fmla="*/ 79761 w 883066"/>
              <a:gd name="connsiteY6" fmla="*/ 526991 h 774819"/>
              <a:gd name="connsiteX7" fmla="*/ 82610 w 883066"/>
              <a:gd name="connsiteY7" fmla="*/ 561174 h 774819"/>
              <a:gd name="connsiteX8" fmla="*/ 102550 w 883066"/>
              <a:gd name="connsiteY8" fmla="*/ 615298 h 774819"/>
              <a:gd name="connsiteX9" fmla="*/ 94004 w 883066"/>
              <a:gd name="connsiteY9" fmla="*/ 697907 h 774819"/>
              <a:gd name="connsiteX10" fmla="*/ 136733 w 883066"/>
              <a:gd name="connsiteY10" fmla="*/ 686513 h 774819"/>
              <a:gd name="connsiteX11" fmla="*/ 182311 w 883066"/>
              <a:gd name="connsiteY11" fmla="*/ 669421 h 774819"/>
              <a:gd name="connsiteX12" fmla="*/ 236434 w 883066"/>
              <a:gd name="connsiteY12" fmla="*/ 677967 h 774819"/>
              <a:gd name="connsiteX13" fmla="*/ 296254 w 883066"/>
              <a:gd name="connsiteY13" fmla="*/ 703604 h 774819"/>
              <a:gd name="connsiteX14" fmla="*/ 358924 w 883066"/>
              <a:gd name="connsiteY14" fmla="*/ 703604 h 774819"/>
              <a:gd name="connsiteX15" fmla="*/ 361772 w 883066"/>
              <a:gd name="connsiteY15" fmla="*/ 660875 h 774819"/>
              <a:gd name="connsiteX16" fmla="*/ 387410 w 883066"/>
              <a:gd name="connsiteY16" fmla="*/ 646632 h 774819"/>
              <a:gd name="connsiteX17" fmla="*/ 424441 w 883066"/>
              <a:gd name="connsiteY17" fmla="*/ 649481 h 774819"/>
              <a:gd name="connsiteX18" fmla="*/ 447230 w 883066"/>
              <a:gd name="connsiteY18" fmla="*/ 658027 h 774819"/>
              <a:gd name="connsiteX19" fmla="*/ 492808 w 883066"/>
              <a:gd name="connsiteY19" fmla="*/ 692210 h 774819"/>
              <a:gd name="connsiteX20" fmla="*/ 501354 w 883066"/>
              <a:gd name="connsiteY20" fmla="*/ 649481 h 774819"/>
              <a:gd name="connsiteX21" fmla="*/ 467170 w 883066"/>
              <a:gd name="connsiteY21" fmla="*/ 612449 h 774819"/>
              <a:gd name="connsiteX22" fmla="*/ 458625 w 883066"/>
              <a:gd name="connsiteY22" fmla="*/ 595357 h 774819"/>
              <a:gd name="connsiteX23" fmla="*/ 472868 w 883066"/>
              <a:gd name="connsiteY23" fmla="*/ 589660 h 774819"/>
              <a:gd name="connsiteX24" fmla="*/ 492808 w 883066"/>
              <a:gd name="connsiteY24" fmla="*/ 592509 h 774819"/>
              <a:gd name="connsiteX25" fmla="*/ 535537 w 883066"/>
              <a:gd name="connsiteY25" fmla="*/ 643784 h 774819"/>
              <a:gd name="connsiteX26" fmla="*/ 524142 w 883066"/>
              <a:gd name="connsiteY26" fmla="*/ 675118 h 774819"/>
              <a:gd name="connsiteX27" fmla="*/ 529840 w 883066"/>
              <a:gd name="connsiteY27" fmla="*/ 746333 h 774819"/>
              <a:gd name="connsiteX28" fmla="*/ 589660 w 883066"/>
              <a:gd name="connsiteY28" fmla="*/ 774819 h 774819"/>
              <a:gd name="connsiteX29" fmla="*/ 620995 w 883066"/>
              <a:gd name="connsiteY29" fmla="*/ 732090 h 774819"/>
              <a:gd name="connsiteX30" fmla="*/ 683664 w 883066"/>
              <a:gd name="connsiteY30" fmla="*/ 746333 h 774819"/>
              <a:gd name="connsiteX31" fmla="*/ 709301 w 883066"/>
              <a:gd name="connsiteY31" fmla="*/ 717847 h 774819"/>
              <a:gd name="connsiteX32" fmla="*/ 700755 w 883066"/>
              <a:gd name="connsiteY32" fmla="*/ 663724 h 774819"/>
              <a:gd name="connsiteX33" fmla="*/ 680815 w 883066"/>
              <a:gd name="connsiteY33" fmla="*/ 640935 h 774819"/>
              <a:gd name="connsiteX34" fmla="*/ 683664 w 883066"/>
              <a:gd name="connsiteY34" fmla="*/ 618146 h 774819"/>
              <a:gd name="connsiteX35" fmla="*/ 734939 w 883066"/>
              <a:gd name="connsiteY35" fmla="*/ 646632 h 774819"/>
              <a:gd name="connsiteX36" fmla="*/ 757727 w 883066"/>
              <a:gd name="connsiteY36" fmla="*/ 683664 h 774819"/>
              <a:gd name="connsiteX37" fmla="*/ 803305 w 883066"/>
              <a:gd name="connsiteY37" fmla="*/ 695058 h 774819"/>
              <a:gd name="connsiteX38" fmla="*/ 848883 w 883066"/>
              <a:gd name="connsiteY38" fmla="*/ 734939 h 774819"/>
              <a:gd name="connsiteX39" fmla="*/ 883066 w 883066"/>
              <a:gd name="connsiteY39" fmla="*/ 714999 h 774819"/>
              <a:gd name="connsiteX40" fmla="*/ 883066 w 883066"/>
              <a:gd name="connsiteY40" fmla="*/ 689361 h 774819"/>
              <a:gd name="connsiteX41" fmla="*/ 846034 w 883066"/>
              <a:gd name="connsiteY41" fmla="*/ 646632 h 774819"/>
              <a:gd name="connsiteX42" fmla="*/ 817548 w 883066"/>
              <a:gd name="connsiteY42" fmla="*/ 632389 h 774819"/>
              <a:gd name="connsiteX43" fmla="*/ 791911 w 883066"/>
              <a:gd name="connsiteY43" fmla="*/ 609600 h 774819"/>
              <a:gd name="connsiteX44" fmla="*/ 803305 w 883066"/>
              <a:gd name="connsiteY44" fmla="*/ 586812 h 774819"/>
              <a:gd name="connsiteX45" fmla="*/ 817548 w 883066"/>
              <a:gd name="connsiteY45" fmla="*/ 583963 h 774819"/>
              <a:gd name="connsiteX46" fmla="*/ 837488 w 883066"/>
              <a:gd name="connsiteY46" fmla="*/ 583963 h 774819"/>
              <a:gd name="connsiteX47" fmla="*/ 848883 w 883066"/>
              <a:gd name="connsiteY47" fmla="*/ 555477 h 774819"/>
              <a:gd name="connsiteX48" fmla="*/ 846034 w 883066"/>
              <a:gd name="connsiteY48" fmla="*/ 541234 h 774819"/>
              <a:gd name="connsiteX49" fmla="*/ 806154 w 883066"/>
              <a:gd name="connsiteY49" fmla="*/ 529840 h 774819"/>
              <a:gd name="connsiteX50" fmla="*/ 771970 w 883066"/>
              <a:gd name="connsiteY50" fmla="*/ 555477 h 774819"/>
              <a:gd name="connsiteX51" fmla="*/ 752030 w 883066"/>
              <a:gd name="connsiteY51" fmla="*/ 544083 h 774819"/>
              <a:gd name="connsiteX52" fmla="*/ 740636 w 883066"/>
              <a:gd name="connsiteY52" fmla="*/ 515597 h 774819"/>
              <a:gd name="connsiteX53" fmla="*/ 709301 w 883066"/>
              <a:gd name="connsiteY53" fmla="*/ 518445 h 774819"/>
              <a:gd name="connsiteX54" fmla="*/ 712150 w 883066"/>
              <a:gd name="connsiteY54" fmla="*/ 546931 h 774819"/>
              <a:gd name="connsiteX55" fmla="*/ 675118 w 883066"/>
              <a:gd name="connsiteY55" fmla="*/ 566872 h 774819"/>
              <a:gd name="connsiteX56" fmla="*/ 655178 w 883066"/>
              <a:gd name="connsiteY56" fmla="*/ 566872 h 774819"/>
              <a:gd name="connsiteX57" fmla="*/ 632389 w 883066"/>
              <a:gd name="connsiteY57" fmla="*/ 558326 h 774819"/>
              <a:gd name="connsiteX58" fmla="*/ 635238 w 883066"/>
              <a:gd name="connsiteY58" fmla="*/ 529840 h 774819"/>
              <a:gd name="connsiteX59" fmla="*/ 603903 w 883066"/>
              <a:gd name="connsiteY59" fmla="*/ 498505 h 774819"/>
              <a:gd name="connsiteX60" fmla="*/ 620995 w 883066"/>
              <a:gd name="connsiteY60" fmla="*/ 487111 h 774819"/>
              <a:gd name="connsiteX61" fmla="*/ 660875 w 883066"/>
              <a:gd name="connsiteY61" fmla="*/ 492808 h 774819"/>
              <a:gd name="connsiteX62" fmla="*/ 683664 w 883066"/>
              <a:gd name="connsiteY62" fmla="*/ 472868 h 774819"/>
              <a:gd name="connsiteX63" fmla="*/ 729241 w 883066"/>
              <a:gd name="connsiteY63" fmla="*/ 487111 h 774819"/>
              <a:gd name="connsiteX64" fmla="*/ 729241 w 883066"/>
              <a:gd name="connsiteY64" fmla="*/ 487111 h 774819"/>
              <a:gd name="connsiteX65" fmla="*/ 766273 w 883066"/>
              <a:gd name="connsiteY65" fmla="*/ 495657 h 774819"/>
              <a:gd name="connsiteX66" fmla="*/ 766273 w 883066"/>
              <a:gd name="connsiteY66" fmla="*/ 455776 h 774819"/>
              <a:gd name="connsiteX67" fmla="*/ 734939 w 883066"/>
              <a:gd name="connsiteY67" fmla="*/ 444382 h 774819"/>
              <a:gd name="connsiteX68" fmla="*/ 734939 w 883066"/>
              <a:gd name="connsiteY68" fmla="*/ 378864 h 774819"/>
              <a:gd name="connsiteX69" fmla="*/ 723544 w 883066"/>
              <a:gd name="connsiteY69" fmla="*/ 356075 h 774819"/>
              <a:gd name="connsiteX70" fmla="*/ 438684 w 883066"/>
              <a:gd name="connsiteY70" fmla="*/ 381713 h 774819"/>
              <a:gd name="connsiteX71" fmla="*/ 444382 w 883066"/>
              <a:gd name="connsiteY71" fmla="*/ 273466 h 774819"/>
              <a:gd name="connsiteX72" fmla="*/ 492808 w 883066"/>
              <a:gd name="connsiteY72" fmla="*/ 202251 h 774819"/>
              <a:gd name="connsiteX73" fmla="*/ 481413 w 883066"/>
              <a:gd name="connsiteY73" fmla="*/ 150976 h 774819"/>
              <a:gd name="connsiteX74" fmla="*/ 495656 w 883066"/>
              <a:gd name="connsiteY74" fmla="*/ 119642 h 774819"/>
              <a:gd name="connsiteX75" fmla="*/ 475716 w 883066"/>
              <a:gd name="connsiteY75" fmla="*/ 0 h 774819"/>
              <a:gd name="connsiteX76" fmla="*/ 0 w 883066"/>
              <a:gd name="connsiteY76" fmla="*/ 62670 h 774819"/>
              <a:gd name="connsiteX0" fmla="*/ 0 w 883066"/>
              <a:gd name="connsiteY0" fmla="*/ 62670 h 774819"/>
              <a:gd name="connsiteX1" fmla="*/ 14243 w 883066"/>
              <a:gd name="connsiteY1" fmla="*/ 188008 h 774819"/>
              <a:gd name="connsiteX2" fmla="*/ 17092 w 883066"/>
              <a:gd name="connsiteY2" fmla="*/ 253526 h 774819"/>
              <a:gd name="connsiteX3" fmla="*/ 39881 w 883066"/>
              <a:gd name="connsiteY3" fmla="*/ 313346 h 774819"/>
              <a:gd name="connsiteX4" fmla="*/ 76912 w 883066"/>
              <a:gd name="connsiteY4" fmla="*/ 361772 h 774819"/>
              <a:gd name="connsiteX5" fmla="*/ 108247 w 883066"/>
              <a:gd name="connsiteY5" fmla="*/ 450079 h 774819"/>
              <a:gd name="connsiteX6" fmla="*/ 79761 w 883066"/>
              <a:gd name="connsiteY6" fmla="*/ 526991 h 774819"/>
              <a:gd name="connsiteX7" fmla="*/ 82610 w 883066"/>
              <a:gd name="connsiteY7" fmla="*/ 561174 h 774819"/>
              <a:gd name="connsiteX8" fmla="*/ 102550 w 883066"/>
              <a:gd name="connsiteY8" fmla="*/ 615298 h 774819"/>
              <a:gd name="connsiteX9" fmla="*/ 94004 w 883066"/>
              <a:gd name="connsiteY9" fmla="*/ 697907 h 774819"/>
              <a:gd name="connsiteX10" fmla="*/ 84178 w 883066"/>
              <a:gd name="connsiteY10" fmla="*/ 697179 h 774819"/>
              <a:gd name="connsiteX11" fmla="*/ 136733 w 883066"/>
              <a:gd name="connsiteY11" fmla="*/ 686513 h 774819"/>
              <a:gd name="connsiteX12" fmla="*/ 182311 w 883066"/>
              <a:gd name="connsiteY12" fmla="*/ 669421 h 774819"/>
              <a:gd name="connsiteX13" fmla="*/ 236434 w 883066"/>
              <a:gd name="connsiteY13" fmla="*/ 677967 h 774819"/>
              <a:gd name="connsiteX14" fmla="*/ 296254 w 883066"/>
              <a:gd name="connsiteY14" fmla="*/ 703604 h 774819"/>
              <a:gd name="connsiteX15" fmla="*/ 358924 w 883066"/>
              <a:gd name="connsiteY15" fmla="*/ 703604 h 774819"/>
              <a:gd name="connsiteX16" fmla="*/ 361772 w 883066"/>
              <a:gd name="connsiteY16" fmla="*/ 660875 h 774819"/>
              <a:gd name="connsiteX17" fmla="*/ 387410 w 883066"/>
              <a:gd name="connsiteY17" fmla="*/ 646632 h 774819"/>
              <a:gd name="connsiteX18" fmla="*/ 424441 w 883066"/>
              <a:gd name="connsiteY18" fmla="*/ 649481 h 774819"/>
              <a:gd name="connsiteX19" fmla="*/ 447230 w 883066"/>
              <a:gd name="connsiteY19" fmla="*/ 658027 h 774819"/>
              <a:gd name="connsiteX20" fmla="*/ 492808 w 883066"/>
              <a:gd name="connsiteY20" fmla="*/ 692210 h 774819"/>
              <a:gd name="connsiteX21" fmla="*/ 501354 w 883066"/>
              <a:gd name="connsiteY21" fmla="*/ 649481 h 774819"/>
              <a:gd name="connsiteX22" fmla="*/ 467170 w 883066"/>
              <a:gd name="connsiteY22" fmla="*/ 612449 h 774819"/>
              <a:gd name="connsiteX23" fmla="*/ 458625 w 883066"/>
              <a:gd name="connsiteY23" fmla="*/ 595357 h 774819"/>
              <a:gd name="connsiteX24" fmla="*/ 472868 w 883066"/>
              <a:gd name="connsiteY24" fmla="*/ 589660 h 774819"/>
              <a:gd name="connsiteX25" fmla="*/ 492808 w 883066"/>
              <a:gd name="connsiteY25" fmla="*/ 592509 h 774819"/>
              <a:gd name="connsiteX26" fmla="*/ 535537 w 883066"/>
              <a:gd name="connsiteY26" fmla="*/ 643784 h 774819"/>
              <a:gd name="connsiteX27" fmla="*/ 524142 w 883066"/>
              <a:gd name="connsiteY27" fmla="*/ 675118 h 774819"/>
              <a:gd name="connsiteX28" fmla="*/ 529840 w 883066"/>
              <a:gd name="connsiteY28" fmla="*/ 746333 h 774819"/>
              <a:gd name="connsiteX29" fmla="*/ 589660 w 883066"/>
              <a:gd name="connsiteY29" fmla="*/ 774819 h 774819"/>
              <a:gd name="connsiteX30" fmla="*/ 620995 w 883066"/>
              <a:gd name="connsiteY30" fmla="*/ 732090 h 774819"/>
              <a:gd name="connsiteX31" fmla="*/ 683664 w 883066"/>
              <a:gd name="connsiteY31" fmla="*/ 746333 h 774819"/>
              <a:gd name="connsiteX32" fmla="*/ 709301 w 883066"/>
              <a:gd name="connsiteY32" fmla="*/ 717847 h 774819"/>
              <a:gd name="connsiteX33" fmla="*/ 700755 w 883066"/>
              <a:gd name="connsiteY33" fmla="*/ 663724 h 774819"/>
              <a:gd name="connsiteX34" fmla="*/ 680815 w 883066"/>
              <a:gd name="connsiteY34" fmla="*/ 640935 h 774819"/>
              <a:gd name="connsiteX35" fmla="*/ 683664 w 883066"/>
              <a:gd name="connsiteY35" fmla="*/ 618146 h 774819"/>
              <a:gd name="connsiteX36" fmla="*/ 734939 w 883066"/>
              <a:gd name="connsiteY36" fmla="*/ 646632 h 774819"/>
              <a:gd name="connsiteX37" fmla="*/ 757727 w 883066"/>
              <a:gd name="connsiteY37" fmla="*/ 683664 h 774819"/>
              <a:gd name="connsiteX38" fmla="*/ 803305 w 883066"/>
              <a:gd name="connsiteY38" fmla="*/ 695058 h 774819"/>
              <a:gd name="connsiteX39" fmla="*/ 848883 w 883066"/>
              <a:gd name="connsiteY39" fmla="*/ 734939 h 774819"/>
              <a:gd name="connsiteX40" fmla="*/ 883066 w 883066"/>
              <a:gd name="connsiteY40" fmla="*/ 714999 h 774819"/>
              <a:gd name="connsiteX41" fmla="*/ 883066 w 883066"/>
              <a:gd name="connsiteY41" fmla="*/ 689361 h 774819"/>
              <a:gd name="connsiteX42" fmla="*/ 846034 w 883066"/>
              <a:gd name="connsiteY42" fmla="*/ 646632 h 774819"/>
              <a:gd name="connsiteX43" fmla="*/ 817548 w 883066"/>
              <a:gd name="connsiteY43" fmla="*/ 632389 h 774819"/>
              <a:gd name="connsiteX44" fmla="*/ 791911 w 883066"/>
              <a:gd name="connsiteY44" fmla="*/ 609600 h 774819"/>
              <a:gd name="connsiteX45" fmla="*/ 803305 w 883066"/>
              <a:gd name="connsiteY45" fmla="*/ 586812 h 774819"/>
              <a:gd name="connsiteX46" fmla="*/ 817548 w 883066"/>
              <a:gd name="connsiteY46" fmla="*/ 583963 h 774819"/>
              <a:gd name="connsiteX47" fmla="*/ 837488 w 883066"/>
              <a:gd name="connsiteY47" fmla="*/ 583963 h 774819"/>
              <a:gd name="connsiteX48" fmla="*/ 848883 w 883066"/>
              <a:gd name="connsiteY48" fmla="*/ 555477 h 774819"/>
              <a:gd name="connsiteX49" fmla="*/ 846034 w 883066"/>
              <a:gd name="connsiteY49" fmla="*/ 541234 h 774819"/>
              <a:gd name="connsiteX50" fmla="*/ 806154 w 883066"/>
              <a:gd name="connsiteY50" fmla="*/ 529840 h 774819"/>
              <a:gd name="connsiteX51" fmla="*/ 771970 w 883066"/>
              <a:gd name="connsiteY51" fmla="*/ 555477 h 774819"/>
              <a:gd name="connsiteX52" fmla="*/ 752030 w 883066"/>
              <a:gd name="connsiteY52" fmla="*/ 544083 h 774819"/>
              <a:gd name="connsiteX53" fmla="*/ 740636 w 883066"/>
              <a:gd name="connsiteY53" fmla="*/ 515597 h 774819"/>
              <a:gd name="connsiteX54" fmla="*/ 709301 w 883066"/>
              <a:gd name="connsiteY54" fmla="*/ 518445 h 774819"/>
              <a:gd name="connsiteX55" fmla="*/ 712150 w 883066"/>
              <a:gd name="connsiteY55" fmla="*/ 546931 h 774819"/>
              <a:gd name="connsiteX56" fmla="*/ 675118 w 883066"/>
              <a:gd name="connsiteY56" fmla="*/ 566872 h 774819"/>
              <a:gd name="connsiteX57" fmla="*/ 655178 w 883066"/>
              <a:gd name="connsiteY57" fmla="*/ 566872 h 774819"/>
              <a:gd name="connsiteX58" fmla="*/ 632389 w 883066"/>
              <a:gd name="connsiteY58" fmla="*/ 558326 h 774819"/>
              <a:gd name="connsiteX59" fmla="*/ 635238 w 883066"/>
              <a:gd name="connsiteY59" fmla="*/ 529840 h 774819"/>
              <a:gd name="connsiteX60" fmla="*/ 603903 w 883066"/>
              <a:gd name="connsiteY60" fmla="*/ 498505 h 774819"/>
              <a:gd name="connsiteX61" fmla="*/ 620995 w 883066"/>
              <a:gd name="connsiteY61" fmla="*/ 487111 h 774819"/>
              <a:gd name="connsiteX62" fmla="*/ 660875 w 883066"/>
              <a:gd name="connsiteY62" fmla="*/ 492808 h 774819"/>
              <a:gd name="connsiteX63" fmla="*/ 683664 w 883066"/>
              <a:gd name="connsiteY63" fmla="*/ 472868 h 774819"/>
              <a:gd name="connsiteX64" fmla="*/ 729241 w 883066"/>
              <a:gd name="connsiteY64" fmla="*/ 487111 h 774819"/>
              <a:gd name="connsiteX65" fmla="*/ 729241 w 883066"/>
              <a:gd name="connsiteY65" fmla="*/ 487111 h 774819"/>
              <a:gd name="connsiteX66" fmla="*/ 766273 w 883066"/>
              <a:gd name="connsiteY66" fmla="*/ 495657 h 774819"/>
              <a:gd name="connsiteX67" fmla="*/ 766273 w 883066"/>
              <a:gd name="connsiteY67" fmla="*/ 455776 h 774819"/>
              <a:gd name="connsiteX68" fmla="*/ 734939 w 883066"/>
              <a:gd name="connsiteY68" fmla="*/ 444382 h 774819"/>
              <a:gd name="connsiteX69" fmla="*/ 734939 w 883066"/>
              <a:gd name="connsiteY69" fmla="*/ 378864 h 774819"/>
              <a:gd name="connsiteX70" fmla="*/ 723544 w 883066"/>
              <a:gd name="connsiteY70" fmla="*/ 356075 h 774819"/>
              <a:gd name="connsiteX71" fmla="*/ 438684 w 883066"/>
              <a:gd name="connsiteY71" fmla="*/ 381713 h 774819"/>
              <a:gd name="connsiteX72" fmla="*/ 444382 w 883066"/>
              <a:gd name="connsiteY72" fmla="*/ 273466 h 774819"/>
              <a:gd name="connsiteX73" fmla="*/ 492808 w 883066"/>
              <a:gd name="connsiteY73" fmla="*/ 202251 h 774819"/>
              <a:gd name="connsiteX74" fmla="*/ 481413 w 883066"/>
              <a:gd name="connsiteY74" fmla="*/ 150976 h 774819"/>
              <a:gd name="connsiteX75" fmla="*/ 495656 w 883066"/>
              <a:gd name="connsiteY75" fmla="*/ 119642 h 774819"/>
              <a:gd name="connsiteX76" fmla="*/ 475716 w 883066"/>
              <a:gd name="connsiteY76" fmla="*/ 0 h 774819"/>
              <a:gd name="connsiteX77" fmla="*/ 0 w 883066"/>
              <a:gd name="connsiteY77" fmla="*/ 62670 h 774819"/>
              <a:gd name="connsiteX0" fmla="*/ 0 w 883066"/>
              <a:gd name="connsiteY0" fmla="*/ 62670 h 774819"/>
              <a:gd name="connsiteX1" fmla="*/ 14243 w 883066"/>
              <a:gd name="connsiteY1" fmla="*/ 188008 h 774819"/>
              <a:gd name="connsiteX2" fmla="*/ 17092 w 883066"/>
              <a:gd name="connsiteY2" fmla="*/ 253526 h 774819"/>
              <a:gd name="connsiteX3" fmla="*/ 39881 w 883066"/>
              <a:gd name="connsiteY3" fmla="*/ 313346 h 774819"/>
              <a:gd name="connsiteX4" fmla="*/ 76912 w 883066"/>
              <a:gd name="connsiteY4" fmla="*/ 361772 h 774819"/>
              <a:gd name="connsiteX5" fmla="*/ 108247 w 883066"/>
              <a:gd name="connsiteY5" fmla="*/ 450079 h 774819"/>
              <a:gd name="connsiteX6" fmla="*/ 79761 w 883066"/>
              <a:gd name="connsiteY6" fmla="*/ 526991 h 774819"/>
              <a:gd name="connsiteX7" fmla="*/ 82610 w 883066"/>
              <a:gd name="connsiteY7" fmla="*/ 561174 h 774819"/>
              <a:gd name="connsiteX8" fmla="*/ 83491 w 883066"/>
              <a:gd name="connsiteY8" fmla="*/ 615298 h 774819"/>
              <a:gd name="connsiteX9" fmla="*/ 94004 w 883066"/>
              <a:gd name="connsiteY9" fmla="*/ 697907 h 774819"/>
              <a:gd name="connsiteX10" fmla="*/ 84178 w 883066"/>
              <a:gd name="connsiteY10" fmla="*/ 697179 h 774819"/>
              <a:gd name="connsiteX11" fmla="*/ 136733 w 883066"/>
              <a:gd name="connsiteY11" fmla="*/ 686513 h 774819"/>
              <a:gd name="connsiteX12" fmla="*/ 182311 w 883066"/>
              <a:gd name="connsiteY12" fmla="*/ 669421 h 774819"/>
              <a:gd name="connsiteX13" fmla="*/ 236434 w 883066"/>
              <a:gd name="connsiteY13" fmla="*/ 677967 h 774819"/>
              <a:gd name="connsiteX14" fmla="*/ 296254 w 883066"/>
              <a:gd name="connsiteY14" fmla="*/ 703604 h 774819"/>
              <a:gd name="connsiteX15" fmla="*/ 358924 w 883066"/>
              <a:gd name="connsiteY15" fmla="*/ 703604 h 774819"/>
              <a:gd name="connsiteX16" fmla="*/ 361772 w 883066"/>
              <a:gd name="connsiteY16" fmla="*/ 660875 h 774819"/>
              <a:gd name="connsiteX17" fmla="*/ 387410 w 883066"/>
              <a:gd name="connsiteY17" fmla="*/ 646632 h 774819"/>
              <a:gd name="connsiteX18" fmla="*/ 424441 w 883066"/>
              <a:gd name="connsiteY18" fmla="*/ 649481 h 774819"/>
              <a:gd name="connsiteX19" fmla="*/ 447230 w 883066"/>
              <a:gd name="connsiteY19" fmla="*/ 658027 h 774819"/>
              <a:gd name="connsiteX20" fmla="*/ 492808 w 883066"/>
              <a:gd name="connsiteY20" fmla="*/ 692210 h 774819"/>
              <a:gd name="connsiteX21" fmla="*/ 501354 w 883066"/>
              <a:gd name="connsiteY21" fmla="*/ 649481 h 774819"/>
              <a:gd name="connsiteX22" fmla="*/ 467170 w 883066"/>
              <a:gd name="connsiteY22" fmla="*/ 612449 h 774819"/>
              <a:gd name="connsiteX23" fmla="*/ 458625 w 883066"/>
              <a:gd name="connsiteY23" fmla="*/ 595357 h 774819"/>
              <a:gd name="connsiteX24" fmla="*/ 472868 w 883066"/>
              <a:gd name="connsiteY24" fmla="*/ 589660 h 774819"/>
              <a:gd name="connsiteX25" fmla="*/ 492808 w 883066"/>
              <a:gd name="connsiteY25" fmla="*/ 592509 h 774819"/>
              <a:gd name="connsiteX26" fmla="*/ 535537 w 883066"/>
              <a:gd name="connsiteY26" fmla="*/ 643784 h 774819"/>
              <a:gd name="connsiteX27" fmla="*/ 524142 w 883066"/>
              <a:gd name="connsiteY27" fmla="*/ 675118 h 774819"/>
              <a:gd name="connsiteX28" fmla="*/ 529840 w 883066"/>
              <a:gd name="connsiteY28" fmla="*/ 746333 h 774819"/>
              <a:gd name="connsiteX29" fmla="*/ 589660 w 883066"/>
              <a:gd name="connsiteY29" fmla="*/ 774819 h 774819"/>
              <a:gd name="connsiteX30" fmla="*/ 620995 w 883066"/>
              <a:gd name="connsiteY30" fmla="*/ 732090 h 774819"/>
              <a:gd name="connsiteX31" fmla="*/ 683664 w 883066"/>
              <a:gd name="connsiteY31" fmla="*/ 746333 h 774819"/>
              <a:gd name="connsiteX32" fmla="*/ 709301 w 883066"/>
              <a:gd name="connsiteY32" fmla="*/ 717847 h 774819"/>
              <a:gd name="connsiteX33" fmla="*/ 700755 w 883066"/>
              <a:gd name="connsiteY33" fmla="*/ 663724 h 774819"/>
              <a:gd name="connsiteX34" fmla="*/ 680815 w 883066"/>
              <a:gd name="connsiteY34" fmla="*/ 640935 h 774819"/>
              <a:gd name="connsiteX35" fmla="*/ 683664 w 883066"/>
              <a:gd name="connsiteY35" fmla="*/ 618146 h 774819"/>
              <a:gd name="connsiteX36" fmla="*/ 734939 w 883066"/>
              <a:gd name="connsiteY36" fmla="*/ 646632 h 774819"/>
              <a:gd name="connsiteX37" fmla="*/ 757727 w 883066"/>
              <a:gd name="connsiteY37" fmla="*/ 683664 h 774819"/>
              <a:gd name="connsiteX38" fmla="*/ 803305 w 883066"/>
              <a:gd name="connsiteY38" fmla="*/ 695058 h 774819"/>
              <a:gd name="connsiteX39" fmla="*/ 848883 w 883066"/>
              <a:gd name="connsiteY39" fmla="*/ 734939 h 774819"/>
              <a:gd name="connsiteX40" fmla="*/ 883066 w 883066"/>
              <a:gd name="connsiteY40" fmla="*/ 714999 h 774819"/>
              <a:gd name="connsiteX41" fmla="*/ 883066 w 883066"/>
              <a:gd name="connsiteY41" fmla="*/ 689361 h 774819"/>
              <a:gd name="connsiteX42" fmla="*/ 846034 w 883066"/>
              <a:gd name="connsiteY42" fmla="*/ 646632 h 774819"/>
              <a:gd name="connsiteX43" fmla="*/ 817548 w 883066"/>
              <a:gd name="connsiteY43" fmla="*/ 632389 h 774819"/>
              <a:gd name="connsiteX44" fmla="*/ 791911 w 883066"/>
              <a:gd name="connsiteY44" fmla="*/ 609600 h 774819"/>
              <a:gd name="connsiteX45" fmla="*/ 803305 w 883066"/>
              <a:gd name="connsiteY45" fmla="*/ 586812 h 774819"/>
              <a:gd name="connsiteX46" fmla="*/ 817548 w 883066"/>
              <a:gd name="connsiteY46" fmla="*/ 583963 h 774819"/>
              <a:gd name="connsiteX47" fmla="*/ 837488 w 883066"/>
              <a:gd name="connsiteY47" fmla="*/ 583963 h 774819"/>
              <a:gd name="connsiteX48" fmla="*/ 848883 w 883066"/>
              <a:gd name="connsiteY48" fmla="*/ 555477 h 774819"/>
              <a:gd name="connsiteX49" fmla="*/ 846034 w 883066"/>
              <a:gd name="connsiteY49" fmla="*/ 541234 h 774819"/>
              <a:gd name="connsiteX50" fmla="*/ 806154 w 883066"/>
              <a:gd name="connsiteY50" fmla="*/ 529840 h 774819"/>
              <a:gd name="connsiteX51" fmla="*/ 771970 w 883066"/>
              <a:gd name="connsiteY51" fmla="*/ 555477 h 774819"/>
              <a:gd name="connsiteX52" fmla="*/ 752030 w 883066"/>
              <a:gd name="connsiteY52" fmla="*/ 544083 h 774819"/>
              <a:gd name="connsiteX53" fmla="*/ 740636 w 883066"/>
              <a:gd name="connsiteY53" fmla="*/ 515597 h 774819"/>
              <a:gd name="connsiteX54" fmla="*/ 709301 w 883066"/>
              <a:gd name="connsiteY54" fmla="*/ 518445 h 774819"/>
              <a:gd name="connsiteX55" fmla="*/ 712150 w 883066"/>
              <a:gd name="connsiteY55" fmla="*/ 546931 h 774819"/>
              <a:gd name="connsiteX56" fmla="*/ 675118 w 883066"/>
              <a:gd name="connsiteY56" fmla="*/ 566872 h 774819"/>
              <a:gd name="connsiteX57" fmla="*/ 655178 w 883066"/>
              <a:gd name="connsiteY57" fmla="*/ 566872 h 774819"/>
              <a:gd name="connsiteX58" fmla="*/ 632389 w 883066"/>
              <a:gd name="connsiteY58" fmla="*/ 558326 h 774819"/>
              <a:gd name="connsiteX59" fmla="*/ 635238 w 883066"/>
              <a:gd name="connsiteY59" fmla="*/ 529840 h 774819"/>
              <a:gd name="connsiteX60" fmla="*/ 603903 w 883066"/>
              <a:gd name="connsiteY60" fmla="*/ 498505 h 774819"/>
              <a:gd name="connsiteX61" fmla="*/ 620995 w 883066"/>
              <a:gd name="connsiteY61" fmla="*/ 487111 h 774819"/>
              <a:gd name="connsiteX62" fmla="*/ 660875 w 883066"/>
              <a:gd name="connsiteY62" fmla="*/ 492808 h 774819"/>
              <a:gd name="connsiteX63" fmla="*/ 683664 w 883066"/>
              <a:gd name="connsiteY63" fmla="*/ 472868 h 774819"/>
              <a:gd name="connsiteX64" fmla="*/ 729241 w 883066"/>
              <a:gd name="connsiteY64" fmla="*/ 487111 h 774819"/>
              <a:gd name="connsiteX65" fmla="*/ 729241 w 883066"/>
              <a:gd name="connsiteY65" fmla="*/ 487111 h 774819"/>
              <a:gd name="connsiteX66" fmla="*/ 766273 w 883066"/>
              <a:gd name="connsiteY66" fmla="*/ 495657 h 774819"/>
              <a:gd name="connsiteX67" fmla="*/ 766273 w 883066"/>
              <a:gd name="connsiteY67" fmla="*/ 455776 h 774819"/>
              <a:gd name="connsiteX68" fmla="*/ 734939 w 883066"/>
              <a:gd name="connsiteY68" fmla="*/ 444382 h 774819"/>
              <a:gd name="connsiteX69" fmla="*/ 734939 w 883066"/>
              <a:gd name="connsiteY69" fmla="*/ 378864 h 774819"/>
              <a:gd name="connsiteX70" fmla="*/ 723544 w 883066"/>
              <a:gd name="connsiteY70" fmla="*/ 356075 h 774819"/>
              <a:gd name="connsiteX71" fmla="*/ 438684 w 883066"/>
              <a:gd name="connsiteY71" fmla="*/ 381713 h 774819"/>
              <a:gd name="connsiteX72" fmla="*/ 444382 w 883066"/>
              <a:gd name="connsiteY72" fmla="*/ 273466 h 774819"/>
              <a:gd name="connsiteX73" fmla="*/ 492808 w 883066"/>
              <a:gd name="connsiteY73" fmla="*/ 202251 h 774819"/>
              <a:gd name="connsiteX74" fmla="*/ 481413 w 883066"/>
              <a:gd name="connsiteY74" fmla="*/ 150976 h 774819"/>
              <a:gd name="connsiteX75" fmla="*/ 495656 w 883066"/>
              <a:gd name="connsiteY75" fmla="*/ 119642 h 774819"/>
              <a:gd name="connsiteX76" fmla="*/ 475716 w 883066"/>
              <a:gd name="connsiteY76" fmla="*/ 0 h 774819"/>
              <a:gd name="connsiteX77" fmla="*/ 0 w 883066"/>
              <a:gd name="connsiteY77" fmla="*/ 62670 h 774819"/>
              <a:gd name="connsiteX0" fmla="*/ 0 w 883066"/>
              <a:gd name="connsiteY0" fmla="*/ 62670 h 774819"/>
              <a:gd name="connsiteX1" fmla="*/ 14243 w 883066"/>
              <a:gd name="connsiteY1" fmla="*/ 188008 h 774819"/>
              <a:gd name="connsiteX2" fmla="*/ 17092 w 883066"/>
              <a:gd name="connsiteY2" fmla="*/ 253526 h 774819"/>
              <a:gd name="connsiteX3" fmla="*/ 39881 w 883066"/>
              <a:gd name="connsiteY3" fmla="*/ 313346 h 774819"/>
              <a:gd name="connsiteX4" fmla="*/ 76912 w 883066"/>
              <a:gd name="connsiteY4" fmla="*/ 361772 h 774819"/>
              <a:gd name="connsiteX5" fmla="*/ 108247 w 883066"/>
              <a:gd name="connsiteY5" fmla="*/ 450079 h 774819"/>
              <a:gd name="connsiteX6" fmla="*/ 79761 w 883066"/>
              <a:gd name="connsiteY6" fmla="*/ 526991 h 774819"/>
              <a:gd name="connsiteX7" fmla="*/ 82610 w 883066"/>
              <a:gd name="connsiteY7" fmla="*/ 561174 h 774819"/>
              <a:gd name="connsiteX8" fmla="*/ 83491 w 883066"/>
              <a:gd name="connsiteY8" fmla="*/ 615298 h 774819"/>
              <a:gd name="connsiteX9" fmla="*/ 84178 w 883066"/>
              <a:gd name="connsiteY9" fmla="*/ 697179 h 774819"/>
              <a:gd name="connsiteX10" fmla="*/ 136733 w 883066"/>
              <a:gd name="connsiteY10" fmla="*/ 686513 h 774819"/>
              <a:gd name="connsiteX11" fmla="*/ 182311 w 883066"/>
              <a:gd name="connsiteY11" fmla="*/ 669421 h 774819"/>
              <a:gd name="connsiteX12" fmla="*/ 236434 w 883066"/>
              <a:gd name="connsiteY12" fmla="*/ 677967 h 774819"/>
              <a:gd name="connsiteX13" fmla="*/ 296254 w 883066"/>
              <a:gd name="connsiteY13" fmla="*/ 703604 h 774819"/>
              <a:gd name="connsiteX14" fmla="*/ 358924 w 883066"/>
              <a:gd name="connsiteY14" fmla="*/ 703604 h 774819"/>
              <a:gd name="connsiteX15" fmla="*/ 361772 w 883066"/>
              <a:gd name="connsiteY15" fmla="*/ 660875 h 774819"/>
              <a:gd name="connsiteX16" fmla="*/ 387410 w 883066"/>
              <a:gd name="connsiteY16" fmla="*/ 646632 h 774819"/>
              <a:gd name="connsiteX17" fmla="*/ 424441 w 883066"/>
              <a:gd name="connsiteY17" fmla="*/ 649481 h 774819"/>
              <a:gd name="connsiteX18" fmla="*/ 447230 w 883066"/>
              <a:gd name="connsiteY18" fmla="*/ 658027 h 774819"/>
              <a:gd name="connsiteX19" fmla="*/ 492808 w 883066"/>
              <a:gd name="connsiteY19" fmla="*/ 692210 h 774819"/>
              <a:gd name="connsiteX20" fmla="*/ 501354 w 883066"/>
              <a:gd name="connsiteY20" fmla="*/ 649481 h 774819"/>
              <a:gd name="connsiteX21" fmla="*/ 467170 w 883066"/>
              <a:gd name="connsiteY21" fmla="*/ 612449 h 774819"/>
              <a:gd name="connsiteX22" fmla="*/ 458625 w 883066"/>
              <a:gd name="connsiteY22" fmla="*/ 595357 h 774819"/>
              <a:gd name="connsiteX23" fmla="*/ 472868 w 883066"/>
              <a:gd name="connsiteY23" fmla="*/ 589660 h 774819"/>
              <a:gd name="connsiteX24" fmla="*/ 492808 w 883066"/>
              <a:gd name="connsiteY24" fmla="*/ 592509 h 774819"/>
              <a:gd name="connsiteX25" fmla="*/ 535537 w 883066"/>
              <a:gd name="connsiteY25" fmla="*/ 643784 h 774819"/>
              <a:gd name="connsiteX26" fmla="*/ 524142 w 883066"/>
              <a:gd name="connsiteY26" fmla="*/ 675118 h 774819"/>
              <a:gd name="connsiteX27" fmla="*/ 529840 w 883066"/>
              <a:gd name="connsiteY27" fmla="*/ 746333 h 774819"/>
              <a:gd name="connsiteX28" fmla="*/ 589660 w 883066"/>
              <a:gd name="connsiteY28" fmla="*/ 774819 h 774819"/>
              <a:gd name="connsiteX29" fmla="*/ 620995 w 883066"/>
              <a:gd name="connsiteY29" fmla="*/ 732090 h 774819"/>
              <a:gd name="connsiteX30" fmla="*/ 683664 w 883066"/>
              <a:gd name="connsiteY30" fmla="*/ 746333 h 774819"/>
              <a:gd name="connsiteX31" fmla="*/ 709301 w 883066"/>
              <a:gd name="connsiteY31" fmla="*/ 717847 h 774819"/>
              <a:gd name="connsiteX32" fmla="*/ 700755 w 883066"/>
              <a:gd name="connsiteY32" fmla="*/ 663724 h 774819"/>
              <a:gd name="connsiteX33" fmla="*/ 680815 w 883066"/>
              <a:gd name="connsiteY33" fmla="*/ 640935 h 774819"/>
              <a:gd name="connsiteX34" fmla="*/ 683664 w 883066"/>
              <a:gd name="connsiteY34" fmla="*/ 618146 h 774819"/>
              <a:gd name="connsiteX35" fmla="*/ 734939 w 883066"/>
              <a:gd name="connsiteY35" fmla="*/ 646632 h 774819"/>
              <a:gd name="connsiteX36" fmla="*/ 757727 w 883066"/>
              <a:gd name="connsiteY36" fmla="*/ 683664 h 774819"/>
              <a:gd name="connsiteX37" fmla="*/ 803305 w 883066"/>
              <a:gd name="connsiteY37" fmla="*/ 695058 h 774819"/>
              <a:gd name="connsiteX38" fmla="*/ 848883 w 883066"/>
              <a:gd name="connsiteY38" fmla="*/ 734939 h 774819"/>
              <a:gd name="connsiteX39" fmla="*/ 883066 w 883066"/>
              <a:gd name="connsiteY39" fmla="*/ 714999 h 774819"/>
              <a:gd name="connsiteX40" fmla="*/ 883066 w 883066"/>
              <a:gd name="connsiteY40" fmla="*/ 689361 h 774819"/>
              <a:gd name="connsiteX41" fmla="*/ 846034 w 883066"/>
              <a:gd name="connsiteY41" fmla="*/ 646632 h 774819"/>
              <a:gd name="connsiteX42" fmla="*/ 817548 w 883066"/>
              <a:gd name="connsiteY42" fmla="*/ 632389 h 774819"/>
              <a:gd name="connsiteX43" fmla="*/ 791911 w 883066"/>
              <a:gd name="connsiteY43" fmla="*/ 609600 h 774819"/>
              <a:gd name="connsiteX44" fmla="*/ 803305 w 883066"/>
              <a:gd name="connsiteY44" fmla="*/ 586812 h 774819"/>
              <a:gd name="connsiteX45" fmla="*/ 817548 w 883066"/>
              <a:gd name="connsiteY45" fmla="*/ 583963 h 774819"/>
              <a:gd name="connsiteX46" fmla="*/ 837488 w 883066"/>
              <a:gd name="connsiteY46" fmla="*/ 583963 h 774819"/>
              <a:gd name="connsiteX47" fmla="*/ 848883 w 883066"/>
              <a:gd name="connsiteY47" fmla="*/ 555477 h 774819"/>
              <a:gd name="connsiteX48" fmla="*/ 846034 w 883066"/>
              <a:gd name="connsiteY48" fmla="*/ 541234 h 774819"/>
              <a:gd name="connsiteX49" fmla="*/ 806154 w 883066"/>
              <a:gd name="connsiteY49" fmla="*/ 529840 h 774819"/>
              <a:gd name="connsiteX50" fmla="*/ 771970 w 883066"/>
              <a:gd name="connsiteY50" fmla="*/ 555477 h 774819"/>
              <a:gd name="connsiteX51" fmla="*/ 752030 w 883066"/>
              <a:gd name="connsiteY51" fmla="*/ 544083 h 774819"/>
              <a:gd name="connsiteX52" fmla="*/ 740636 w 883066"/>
              <a:gd name="connsiteY52" fmla="*/ 515597 h 774819"/>
              <a:gd name="connsiteX53" fmla="*/ 709301 w 883066"/>
              <a:gd name="connsiteY53" fmla="*/ 518445 h 774819"/>
              <a:gd name="connsiteX54" fmla="*/ 712150 w 883066"/>
              <a:gd name="connsiteY54" fmla="*/ 546931 h 774819"/>
              <a:gd name="connsiteX55" fmla="*/ 675118 w 883066"/>
              <a:gd name="connsiteY55" fmla="*/ 566872 h 774819"/>
              <a:gd name="connsiteX56" fmla="*/ 655178 w 883066"/>
              <a:gd name="connsiteY56" fmla="*/ 566872 h 774819"/>
              <a:gd name="connsiteX57" fmla="*/ 632389 w 883066"/>
              <a:gd name="connsiteY57" fmla="*/ 558326 h 774819"/>
              <a:gd name="connsiteX58" fmla="*/ 635238 w 883066"/>
              <a:gd name="connsiteY58" fmla="*/ 529840 h 774819"/>
              <a:gd name="connsiteX59" fmla="*/ 603903 w 883066"/>
              <a:gd name="connsiteY59" fmla="*/ 498505 h 774819"/>
              <a:gd name="connsiteX60" fmla="*/ 620995 w 883066"/>
              <a:gd name="connsiteY60" fmla="*/ 487111 h 774819"/>
              <a:gd name="connsiteX61" fmla="*/ 660875 w 883066"/>
              <a:gd name="connsiteY61" fmla="*/ 492808 h 774819"/>
              <a:gd name="connsiteX62" fmla="*/ 683664 w 883066"/>
              <a:gd name="connsiteY62" fmla="*/ 472868 h 774819"/>
              <a:gd name="connsiteX63" fmla="*/ 729241 w 883066"/>
              <a:gd name="connsiteY63" fmla="*/ 487111 h 774819"/>
              <a:gd name="connsiteX64" fmla="*/ 729241 w 883066"/>
              <a:gd name="connsiteY64" fmla="*/ 487111 h 774819"/>
              <a:gd name="connsiteX65" fmla="*/ 766273 w 883066"/>
              <a:gd name="connsiteY65" fmla="*/ 495657 h 774819"/>
              <a:gd name="connsiteX66" fmla="*/ 766273 w 883066"/>
              <a:gd name="connsiteY66" fmla="*/ 455776 h 774819"/>
              <a:gd name="connsiteX67" fmla="*/ 734939 w 883066"/>
              <a:gd name="connsiteY67" fmla="*/ 444382 h 774819"/>
              <a:gd name="connsiteX68" fmla="*/ 734939 w 883066"/>
              <a:gd name="connsiteY68" fmla="*/ 378864 h 774819"/>
              <a:gd name="connsiteX69" fmla="*/ 723544 w 883066"/>
              <a:gd name="connsiteY69" fmla="*/ 356075 h 774819"/>
              <a:gd name="connsiteX70" fmla="*/ 438684 w 883066"/>
              <a:gd name="connsiteY70" fmla="*/ 381713 h 774819"/>
              <a:gd name="connsiteX71" fmla="*/ 444382 w 883066"/>
              <a:gd name="connsiteY71" fmla="*/ 273466 h 774819"/>
              <a:gd name="connsiteX72" fmla="*/ 492808 w 883066"/>
              <a:gd name="connsiteY72" fmla="*/ 202251 h 774819"/>
              <a:gd name="connsiteX73" fmla="*/ 481413 w 883066"/>
              <a:gd name="connsiteY73" fmla="*/ 150976 h 774819"/>
              <a:gd name="connsiteX74" fmla="*/ 495656 w 883066"/>
              <a:gd name="connsiteY74" fmla="*/ 119642 h 774819"/>
              <a:gd name="connsiteX75" fmla="*/ 475716 w 883066"/>
              <a:gd name="connsiteY75" fmla="*/ 0 h 774819"/>
              <a:gd name="connsiteX76" fmla="*/ 0 w 883066"/>
              <a:gd name="connsiteY76" fmla="*/ 62670 h 77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883066" h="774819">
                <a:moveTo>
                  <a:pt x="0" y="62670"/>
                </a:moveTo>
                <a:lnTo>
                  <a:pt x="14243" y="188008"/>
                </a:lnTo>
                <a:lnTo>
                  <a:pt x="17092" y="253526"/>
                </a:lnTo>
                <a:lnTo>
                  <a:pt x="39881" y="313346"/>
                </a:lnTo>
                <a:lnTo>
                  <a:pt x="76912" y="361772"/>
                </a:lnTo>
                <a:lnTo>
                  <a:pt x="108247" y="450079"/>
                </a:lnTo>
                <a:lnTo>
                  <a:pt x="79761" y="526991"/>
                </a:lnTo>
                <a:lnTo>
                  <a:pt x="82610" y="561174"/>
                </a:lnTo>
                <a:cubicBezTo>
                  <a:pt x="82904" y="579215"/>
                  <a:pt x="83197" y="597257"/>
                  <a:pt x="83491" y="615298"/>
                </a:cubicBezTo>
                <a:lnTo>
                  <a:pt x="84178" y="697179"/>
                </a:lnTo>
                <a:lnTo>
                  <a:pt x="136733" y="686513"/>
                </a:lnTo>
                <a:lnTo>
                  <a:pt x="182311" y="669421"/>
                </a:lnTo>
                <a:lnTo>
                  <a:pt x="236434" y="677967"/>
                </a:lnTo>
                <a:lnTo>
                  <a:pt x="296254" y="703604"/>
                </a:lnTo>
                <a:lnTo>
                  <a:pt x="358924" y="703604"/>
                </a:lnTo>
                <a:lnTo>
                  <a:pt x="361772" y="660875"/>
                </a:lnTo>
                <a:lnTo>
                  <a:pt x="387410" y="646632"/>
                </a:lnTo>
                <a:lnTo>
                  <a:pt x="424441" y="649481"/>
                </a:lnTo>
                <a:lnTo>
                  <a:pt x="447230" y="658027"/>
                </a:lnTo>
                <a:lnTo>
                  <a:pt x="492808" y="692210"/>
                </a:lnTo>
                <a:lnTo>
                  <a:pt x="501354" y="649481"/>
                </a:lnTo>
                <a:lnTo>
                  <a:pt x="467170" y="612449"/>
                </a:lnTo>
                <a:lnTo>
                  <a:pt x="458625" y="595357"/>
                </a:lnTo>
                <a:lnTo>
                  <a:pt x="472868" y="589660"/>
                </a:lnTo>
                <a:lnTo>
                  <a:pt x="492808" y="592509"/>
                </a:lnTo>
                <a:lnTo>
                  <a:pt x="535537" y="643784"/>
                </a:lnTo>
                <a:lnTo>
                  <a:pt x="524142" y="675118"/>
                </a:lnTo>
                <a:lnTo>
                  <a:pt x="529840" y="746333"/>
                </a:lnTo>
                <a:lnTo>
                  <a:pt x="589660" y="774819"/>
                </a:lnTo>
                <a:lnTo>
                  <a:pt x="620995" y="732090"/>
                </a:lnTo>
                <a:lnTo>
                  <a:pt x="683664" y="746333"/>
                </a:lnTo>
                <a:lnTo>
                  <a:pt x="709301" y="717847"/>
                </a:lnTo>
                <a:lnTo>
                  <a:pt x="700755" y="663724"/>
                </a:lnTo>
                <a:lnTo>
                  <a:pt x="680815" y="640935"/>
                </a:lnTo>
                <a:lnTo>
                  <a:pt x="683664" y="618146"/>
                </a:lnTo>
                <a:lnTo>
                  <a:pt x="734939" y="646632"/>
                </a:lnTo>
                <a:lnTo>
                  <a:pt x="757727" y="683664"/>
                </a:lnTo>
                <a:lnTo>
                  <a:pt x="803305" y="695058"/>
                </a:lnTo>
                <a:lnTo>
                  <a:pt x="848883" y="734939"/>
                </a:lnTo>
                <a:lnTo>
                  <a:pt x="883066" y="714999"/>
                </a:lnTo>
                <a:lnTo>
                  <a:pt x="883066" y="689361"/>
                </a:lnTo>
                <a:lnTo>
                  <a:pt x="846034" y="646632"/>
                </a:lnTo>
                <a:lnTo>
                  <a:pt x="817548" y="632389"/>
                </a:lnTo>
                <a:lnTo>
                  <a:pt x="791911" y="609600"/>
                </a:lnTo>
                <a:lnTo>
                  <a:pt x="803305" y="586812"/>
                </a:lnTo>
                <a:lnTo>
                  <a:pt x="817548" y="583963"/>
                </a:lnTo>
                <a:lnTo>
                  <a:pt x="837488" y="583963"/>
                </a:lnTo>
                <a:lnTo>
                  <a:pt x="848883" y="555477"/>
                </a:lnTo>
                <a:lnTo>
                  <a:pt x="846034" y="541234"/>
                </a:lnTo>
                <a:lnTo>
                  <a:pt x="806154" y="529840"/>
                </a:lnTo>
                <a:lnTo>
                  <a:pt x="771970" y="555477"/>
                </a:lnTo>
                <a:lnTo>
                  <a:pt x="752030" y="544083"/>
                </a:lnTo>
                <a:lnTo>
                  <a:pt x="740636" y="515597"/>
                </a:lnTo>
                <a:lnTo>
                  <a:pt x="709301" y="518445"/>
                </a:lnTo>
                <a:lnTo>
                  <a:pt x="712150" y="546931"/>
                </a:lnTo>
                <a:lnTo>
                  <a:pt x="675118" y="566872"/>
                </a:lnTo>
                <a:lnTo>
                  <a:pt x="655178" y="566872"/>
                </a:lnTo>
                <a:lnTo>
                  <a:pt x="632389" y="558326"/>
                </a:lnTo>
                <a:lnTo>
                  <a:pt x="635238" y="529840"/>
                </a:lnTo>
                <a:lnTo>
                  <a:pt x="603903" y="498505"/>
                </a:lnTo>
                <a:lnTo>
                  <a:pt x="620995" y="487111"/>
                </a:lnTo>
                <a:lnTo>
                  <a:pt x="660875" y="492808"/>
                </a:lnTo>
                <a:lnTo>
                  <a:pt x="683664" y="472868"/>
                </a:lnTo>
                <a:lnTo>
                  <a:pt x="729241" y="487111"/>
                </a:lnTo>
                <a:lnTo>
                  <a:pt x="729241" y="487111"/>
                </a:lnTo>
                <a:lnTo>
                  <a:pt x="766273" y="495657"/>
                </a:lnTo>
                <a:lnTo>
                  <a:pt x="766273" y="455776"/>
                </a:lnTo>
                <a:lnTo>
                  <a:pt x="734939" y="444382"/>
                </a:lnTo>
                <a:lnTo>
                  <a:pt x="734939" y="378864"/>
                </a:lnTo>
                <a:lnTo>
                  <a:pt x="723544" y="356075"/>
                </a:lnTo>
                <a:lnTo>
                  <a:pt x="438684" y="381713"/>
                </a:lnTo>
                <a:lnTo>
                  <a:pt x="444382" y="273466"/>
                </a:lnTo>
                <a:lnTo>
                  <a:pt x="492808" y="202251"/>
                </a:lnTo>
                <a:lnTo>
                  <a:pt x="481413" y="150976"/>
                </a:lnTo>
                <a:lnTo>
                  <a:pt x="495656" y="119642"/>
                </a:lnTo>
                <a:lnTo>
                  <a:pt x="475716" y="0"/>
                </a:lnTo>
                <a:lnTo>
                  <a:pt x="0" y="6267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6311843" y="5034356"/>
            <a:ext cx="1333135" cy="1040650"/>
          </a:xfrm>
          <a:custGeom>
            <a:avLst/>
            <a:gdLst>
              <a:gd name="connsiteX0" fmla="*/ 0 w 1379716"/>
              <a:gd name="connsiteY0" fmla="*/ 183962 h 1074014"/>
              <a:gd name="connsiteX1" fmla="*/ 27054 w 1379716"/>
              <a:gd name="connsiteY1" fmla="*/ 302996 h 1074014"/>
              <a:gd name="connsiteX2" fmla="*/ 48696 w 1379716"/>
              <a:gd name="connsiteY2" fmla="*/ 294880 h 1074014"/>
              <a:gd name="connsiteX3" fmla="*/ 64928 w 1379716"/>
              <a:gd name="connsiteY3" fmla="*/ 278648 h 1074014"/>
              <a:gd name="connsiteX4" fmla="*/ 70339 w 1379716"/>
              <a:gd name="connsiteY4" fmla="*/ 246185 h 1074014"/>
              <a:gd name="connsiteX5" fmla="*/ 105508 w 1379716"/>
              <a:gd name="connsiteY5" fmla="*/ 246185 h 1074014"/>
              <a:gd name="connsiteX6" fmla="*/ 135267 w 1379716"/>
              <a:gd name="connsiteY6" fmla="*/ 265122 h 1074014"/>
              <a:gd name="connsiteX7" fmla="*/ 208310 w 1379716"/>
              <a:gd name="connsiteY7" fmla="*/ 238069 h 1074014"/>
              <a:gd name="connsiteX8" fmla="*/ 257006 w 1379716"/>
              <a:gd name="connsiteY8" fmla="*/ 257006 h 1074014"/>
              <a:gd name="connsiteX9" fmla="*/ 281354 w 1379716"/>
              <a:gd name="connsiteY9" fmla="*/ 257006 h 1074014"/>
              <a:gd name="connsiteX10" fmla="*/ 327345 w 1379716"/>
              <a:gd name="connsiteY10" fmla="*/ 243479 h 1074014"/>
              <a:gd name="connsiteX11" fmla="*/ 348987 w 1379716"/>
              <a:gd name="connsiteY11" fmla="*/ 267827 h 1074014"/>
              <a:gd name="connsiteX12" fmla="*/ 351693 w 1379716"/>
              <a:gd name="connsiteY12" fmla="*/ 292175 h 1074014"/>
              <a:gd name="connsiteX13" fmla="*/ 373335 w 1379716"/>
              <a:gd name="connsiteY13" fmla="*/ 297586 h 1074014"/>
              <a:gd name="connsiteX14" fmla="*/ 416621 w 1379716"/>
              <a:gd name="connsiteY14" fmla="*/ 338166 h 1074014"/>
              <a:gd name="connsiteX15" fmla="*/ 435558 w 1379716"/>
              <a:gd name="connsiteY15" fmla="*/ 319228 h 1074014"/>
              <a:gd name="connsiteX16" fmla="*/ 478843 w 1379716"/>
              <a:gd name="connsiteY16" fmla="*/ 321934 h 1074014"/>
              <a:gd name="connsiteX17" fmla="*/ 541065 w 1379716"/>
              <a:gd name="connsiteY17" fmla="*/ 278648 h 1074014"/>
              <a:gd name="connsiteX18" fmla="*/ 554592 w 1379716"/>
              <a:gd name="connsiteY18" fmla="*/ 246185 h 1074014"/>
              <a:gd name="connsiteX19" fmla="*/ 578940 w 1379716"/>
              <a:gd name="connsiteY19" fmla="*/ 227247 h 1074014"/>
              <a:gd name="connsiteX20" fmla="*/ 646573 w 1379716"/>
              <a:gd name="connsiteY20" fmla="*/ 238069 h 1074014"/>
              <a:gd name="connsiteX21" fmla="*/ 692564 w 1379716"/>
              <a:gd name="connsiteY21" fmla="*/ 265122 h 1074014"/>
              <a:gd name="connsiteX22" fmla="*/ 711501 w 1379716"/>
              <a:gd name="connsiteY22" fmla="*/ 324639 h 1074014"/>
              <a:gd name="connsiteX23" fmla="*/ 825125 w 1379716"/>
              <a:gd name="connsiteY23" fmla="*/ 376040 h 1074014"/>
              <a:gd name="connsiteX24" fmla="*/ 854883 w 1379716"/>
              <a:gd name="connsiteY24" fmla="*/ 435557 h 1074014"/>
              <a:gd name="connsiteX25" fmla="*/ 862999 w 1379716"/>
              <a:gd name="connsiteY25" fmla="*/ 568118 h 1074014"/>
              <a:gd name="connsiteX26" fmla="*/ 887347 w 1379716"/>
              <a:gd name="connsiteY26" fmla="*/ 611403 h 1074014"/>
              <a:gd name="connsiteX27" fmla="*/ 906284 w 1379716"/>
              <a:gd name="connsiteY27" fmla="*/ 592466 h 1074014"/>
              <a:gd name="connsiteX28" fmla="*/ 933338 w 1379716"/>
              <a:gd name="connsiteY28" fmla="*/ 624930 h 1074014"/>
              <a:gd name="connsiteX29" fmla="*/ 919811 w 1379716"/>
              <a:gd name="connsiteY29" fmla="*/ 662805 h 1074014"/>
              <a:gd name="connsiteX30" fmla="*/ 919811 w 1379716"/>
              <a:gd name="connsiteY30" fmla="*/ 684447 h 1074014"/>
              <a:gd name="connsiteX31" fmla="*/ 1009087 w 1379716"/>
              <a:gd name="connsiteY31" fmla="*/ 773723 h 1074014"/>
              <a:gd name="connsiteX32" fmla="*/ 1022613 w 1379716"/>
              <a:gd name="connsiteY32" fmla="*/ 754786 h 1074014"/>
              <a:gd name="connsiteX33" fmla="*/ 1030729 w 1379716"/>
              <a:gd name="connsiteY33" fmla="*/ 754786 h 1074014"/>
              <a:gd name="connsiteX34" fmla="*/ 1038845 w 1379716"/>
              <a:gd name="connsiteY34" fmla="*/ 787250 h 1074014"/>
              <a:gd name="connsiteX35" fmla="*/ 1068604 w 1379716"/>
              <a:gd name="connsiteY35" fmla="*/ 819714 h 1074014"/>
              <a:gd name="connsiteX36" fmla="*/ 1068604 w 1379716"/>
              <a:gd name="connsiteY36" fmla="*/ 844061 h 1074014"/>
              <a:gd name="connsiteX37" fmla="*/ 1106478 w 1379716"/>
              <a:gd name="connsiteY37" fmla="*/ 881936 h 1074014"/>
              <a:gd name="connsiteX38" fmla="*/ 1120005 w 1379716"/>
              <a:gd name="connsiteY38" fmla="*/ 922516 h 1074014"/>
              <a:gd name="connsiteX39" fmla="*/ 1152469 w 1379716"/>
              <a:gd name="connsiteY39" fmla="*/ 944158 h 1074014"/>
              <a:gd name="connsiteX40" fmla="*/ 1176817 w 1379716"/>
              <a:gd name="connsiteY40" fmla="*/ 941453 h 1074014"/>
              <a:gd name="connsiteX41" fmla="*/ 1211986 w 1379716"/>
              <a:gd name="connsiteY41" fmla="*/ 998265 h 1074014"/>
              <a:gd name="connsiteX42" fmla="*/ 1241745 w 1379716"/>
              <a:gd name="connsiteY42" fmla="*/ 1014497 h 1074014"/>
              <a:gd name="connsiteX43" fmla="*/ 1260682 w 1379716"/>
              <a:gd name="connsiteY43" fmla="*/ 1030729 h 1074014"/>
              <a:gd name="connsiteX44" fmla="*/ 1266093 w 1379716"/>
              <a:gd name="connsiteY44" fmla="*/ 1038845 h 1074014"/>
              <a:gd name="connsiteX45" fmla="*/ 1252566 w 1379716"/>
              <a:gd name="connsiteY45" fmla="*/ 1046961 h 1074014"/>
              <a:gd name="connsiteX46" fmla="*/ 1247155 w 1379716"/>
              <a:gd name="connsiteY46" fmla="*/ 1055077 h 1074014"/>
              <a:gd name="connsiteX47" fmla="*/ 1268798 w 1379716"/>
              <a:gd name="connsiteY47" fmla="*/ 1074014 h 1074014"/>
              <a:gd name="connsiteX48" fmla="*/ 1282325 w 1379716"/>
              <a:gd name="connsiteY48" fmla="*/ 1068603 h 1074014"/>
              <a:gd name="connsiteX49" fmla="*/ 1298557 w 1379716"/>
              <a:gd name="connsiteY49" fmla="*/ 1052371 h 1074014"/>
              <a:gd name="connsiteX50" fmla="*/ 1314789 w 1379716"/>
              <a:gd name="connsiteY50" fmla="*/ 1033434 h 1074014"/>
              <a:gd name="connsiteX51" fmla="*/ 1341842 w 1379716"/>
              <a:gd name="connsiteY51" fmla="*/ 1038845 h 1074014"/>
              <a:gd name="connsiteX52" fmla="*/ 1349958 w 1379716"/>
              <a:gd name="connsiteY52" fmla="*/ 1014497 h 1074014"/>
              <a:gd name="connsiteX53" fmla="*/ 1363484 w 1379716"/>
              <a:gd name="connsiteY53" fmla="*/ 979328 h 1074014"/>
              <a:gd name="connsiteX54" fmla="*/ 1355368 w 1379716"/>
              <a:gd name="connsiteY54" fmla="*/ 949569 h 1074014"/>
              <a:gd name="connsiteX55" fmla="*/ 1360779 w 1379716"/>
              <a:gd name="connsiteY55" fmla="*/ 925221 h 1074014"/>
              <a:gd name="connsiteX56" fmla="*/ 1368895 w 1379716"/>
              <a:gd name="connsiteY56" fmla="*/ 890052 h 1074014"/>
              <a:gd name="connsiteX57" fmla="*/ 1379716 w 1379716"/>
              <a:gd name="connsiteY57" fmla="*/ 830535 h 1074014"/>
              <a:gd name="connsiteX58" fmla="*/ 1377011 w 1379716"/>
              <a:gd name="connsiteY58" fmla="*/ 752080 h 1074014"/>
              <a:gd name="connsiteX59" fmla="*/ 1352663 w 1379716"/>
              <a:gd name="connsiteY59" fmla="*/ 673626 h 1074014"/>
              <a:gd name="connsiteX60" fmla="*/ 1325610 w 1379716"/>
              <a:gd name="connsiteY60" fmla="*/ 614109 h 1074014"/>
              <a:gd name="connsiteX61" fmla="*/ 1328315 w 1379716"/>
              <a:gd name="connsiteY61" fmla="*/ 603287 h 1074014"/>
              <a:gd name="connsiteX62" fmla="*/ 1306673 w 1379716"/>
              <a:gd name="connsiteY62" fmla="*/ 560002 h 1074014"/>
              <a:gd name="connsiteX63" fmla="*/ 1266093 w 1379716"/>
              <a:gd name="connsiteY63" fmla="*/ 508601 h 1074014"/>
              <a:gd name="connsiteX64" fmla="*/ 1195754 w 1379716"/>
              <a:gd name="connsiteY64" fmla="*/ 403093 h 1074014"/>
              <a:gd name="connsiteX65" fmla="*/ 1184933 w 1379716"/>
              <a:gd name="connsiteY65" fmla="*/ 378745 h 1074014"/>
              <a:gd name="connsiteX66" fmla="*/ 1203870 w 1379716"/>
              <a:gd name="connsiteY66" fmla="*/ 373335 h 1074014"/>
              <a:gd name="connsiteX67" fmla="*/ 1230923 w 1379716"/>
              <a:gd name="connsiteY67" fmla="*/ 392272 h 1074014"/>
              <a:gd name="connsiteX68" fmla="*/ 1257977 w 1379716"/>
              <a:gd name="connsiteY68" fmla="*/ 470727 h 1074014"/>
              <a:gd name="connsiteX69" fmla="*/ 1217397 w 1379716"/>
              <a:gd name="connsiteY69" fmla="*/ 362514 h 1074014"/>
              <a:gd name="connsiteX70" fmla="*/ 1138942 w 1379716"/>
              <a:gd name="connsiteY70" fmla="*/ 286764 h 1074014"/>
              <a:gd name="connsiteX71" fmla="*/ 1117300 w 1379716"/>
              <a:gd name="connsiteY71" fmla="*/ 224542 h 1074014"/>
              <a:gd name="connsiteX72" fmla="*/ 1076720 w 1379716"/>
              <a:gd name="connsiteY72" fmla="*/ 175846 h 1074014"/>
              <a:gd name="connsiteX73" fmla="*/ 1057783 w 1379716"/>
              <a:gd name="connsiteY73" fmla="*/ 129856 h 1074014"/>
              <a:gd name="connsiteX74" fmla="*/ 1028024 w 1379716"/>
              <a:gd name="connsiteY74" fmla="*/ 67633 h 1074014"/>
              <a:gd name="connsiteX75" fmla="*/ 1011792 w 1379716"/>
              <a:gd name="connsiteY75" fmla="*/ 81160 h 1074014"/>
              <a:gd name="connsiteX76" fmla="*/ 1017203 w 1379716"/>
              <a:gd name="connsiteY76" fmla="*/ 119034 h 1074014"/>
              <a:gd name="connsiteX77" fmla="*/ 1025319 w 1379716"/>
              <a:gd name="connsiteY77" fmla="*/ 148793 h 1074014"/>
              <a:gd name="connsiteX78" fmla="*/ 1025319 w 1379716"/>
              <a:gd name="connsiteY78" fmla="*/ 165025 h 1074014"/>
              <a:gd name="connsiteX79" fmla="*/ 995560 w 1379716"/>
              <a:gd name="connsiteY79" fmla="*/ 143382 h 1074014"/>
              <a:gd name="connsiteX80" fmla="*/ 990149 w 1379716"/>
              <a:gd name="connsiteY80" fmla="*/ 110918 h 1074014"/>
              <a:gd name="connsiteX81" fmla="*/ 987444 w 1379716"/>
              <a:gd name="connsiteY81" fmla="*/ 83865 h 1074014"/>
              <a:gd name="connsiteX82" fmla="*/ 1006381 w 1379716"/>
              <a:gd name="connsiteY82" fmla="*/ 54106 h 1074014"/>
              <a:gd name="connsiteX83" fmla="*/ 1025319 w 1379716"/>
              <a:gd name="connsiteY83" fmla="*/ 13527 h 1074014"/>
              <a:gd name="connsiteX84" fmla="*/ 968507 w 1379716"/>
              <a:gd name="connsiteY84" fmla="*/ 13527 h 1074014"/>
              <a:gd name="connsiteX85" fmla="*/ 941454 w 1379716"/>
              <a:gd name="connsiteY85" fmla="*/ 0 h 1074014"/>
              <a:gd name="connsiteX86" fmla="*/ 917106 w 1379716"/>
              <a:gd name="connsiteY86" fmla="*/ 18937 h 1074014"/>
              <a:gd name="connsiteX87" fmla="*/ 911695 w 1379716"/>
              <a:gd name="connsiteY87" fmla="*/ 97392 h 1074014"/>
              <a:gd name="connsiteX88" fmla="*/ 862999 w 1379716"/>
              <a:gd name="connsiteY88" fmla="*/ 81160 h 1074014"/>
              <a:gd name="connsiteX89" fmla="*/ 465316 w 1379716"/>
              <a:gd name="connsiteY89" fmla="*/ 119034 h 1074014"/>
              <a:gd name="connsiteX90" fmla="*/ 392273 w 1379716"/>
              <a:gd name="connsiteY90" fmla="*/ 91981 h 1074014"/>
              <a:gd name="connsiteX91" fmla="*/ 0 w 1379716"/>
              <a:gd name="connsiteY91" fmla="*/ 183962 h 1074014"/>
              <a:gd name="connsiteX0" fmla="*/ 0 w 1379716"/>
              <a:gd name="connsiteY0" fmla="*/ 184734 h 1074786"/>
              <a:gd name="connsiteX1" fmla="*/ 27054 w 1379716"/>
              <a:gd name="connsiteY1" fmla="*/ 303768 h 1074786"/>
              <a:gd name="connsiteX2" fmla="*/ 48696 w 1379716"/>
              <a:gd name="connsiteY2" fmla="*/ 295652 h 1074786"/>
              <a:gd name="connsiteX3" fmla="*/ 64928 w 1379716"/>
              <a:gd name="connsiteY3" fmla="*/ 279420 h 1074786"/>
              <a:gd name="connsiteX4" fmla="*/ 70339 w 1379716"/>
              <a:gd name="connsiteY4" fmla="*/ 246957 h 1074786"/>
              <a:gd name="connsiteX5" fmla="*/ 105508 w 1379716"/>
              <a:gd name="connsiteY5" fmla="*/ 246957 h 1074786"/>
              <a:gd name="connsiteX6" fmla="*/ 135267 w 1379716"/>
              <a:gd name="connsiteY6" fmla="*/ 265894 h 1074786"/>
              <a:gd name="connsiteX7" fmla="*/ 208310 w 1379716"/>
              <a:gd name="connsiteY7" fmla="*/ 238841 h 1074786"/>
              <a:gd name="connsiteX8" fmla="*/ 257006 w 1379716"/>
              <a:gd name="connsiteY8" fmla="*/ 257778 h 1074786"/>
              <a:gd name="connsiteX9" fmla="*/ 281354 w 1379716"/>
              <a:gd name="connsiteY9" fmla="*/ 257778 h 1074786"/>
              <a:gd name="connsiteX10" fmla="*/ 327345 w 1379716"/>
              <a:gd name="connsiteY10" fmla="*/ 244251 h 1074786"/>
              <a:gd name="connsiteX11" fmla="*/ 348987 w 1379716"/>
              <a:gd name="connsiteY11" fmla="*/ 268599 h 1074786"/>
              <a:gd name="connsiteX12" fmla="*/ 351693 w 1379716"/>
              <a:gd name="connsiteY12" fmla="*/ 292947 h 1074786"/>
              <a:gd name="connsiteX13" fmla="*/ 373335 w 1379716"/>
              <a:gd name="connsiteY13" fmla="*/ 298358 h 1074786"/>
              <a:gd name="connsiteX14" fmla="*/ 416621 w 1379716"/>
              <a:gd name="connsiteY14" fmla="*/ 338938 h 1074786"/>
              <a:gd name="connsiteX15" fmla="*/ 435558 w 1379716"/>
              <a:gd name="connsiteY15" fmla="*/ 320000 h 1074786"/>
              <a:gd name="connsiteX16" fmla="*/ 478843 w 1379716"/>
              <a:gd name="connsiteY16" fmla="*/ 322706 h 1074786"/>
              <a:gd name="connsiteX17" fmla="*/ 541065 w 1379716"/>
              <a:gd name="connsiteY17" fmla="*/ 279420 h 1074786"/>
              <a:gd name="connsiteX18" fmla="*/ 554592 w 1379716"/>
              <a:gd name="connsiteY18" fmla="*/ 246957 h 1074786"/>
              <a:gd name="connsiteX19" fmla="*/ 578940 w 1379716"/>
              <a:gd name="connsiteY19" fmla="*/ 228019 h 1074786"/>
              <a:gd name="connsiteX20" fmla="*/ 646573 w 1379716"/>
              <a:gd name="connsiteY20" fmla="*/ 238841 h 1074786"/>
              <a:gd name="connsiteX21" fmla="*/ 692564 w 1379716"/>
              <a:gd name="connsiteY21" fmla="*/ 265894 h 1074786"/>
              <a:gd name="connsiteX22" fmla="*/ 711501 w 1379716"/>
              <a:gd name="connsiteY22" fmla="*/ 325411 h 1074786"/>
              <a:gd name="connsiteX23" fmla="*/ 825125 w 1379716"/>
              <a:gd name="connsiteY23" fmla="*/ 376812 h 1074786"/>
              <a:gd name="connsiteX24" fmla="*/ 854883 w 1379716"/>
              <a:gd name="connsiteY24" fmla="*/ 436329 h 1074786"/>
              <a:gd name="connsiteX25" fmla="*/ 862999 w 1379716"/>
              <a:gd name="connsiteY25" fmla="*/ 568890 h 1074786"/>
              <a:gd name="connsiteX26" fmla="*/ 887347 w 1379716"/>
              <a:gd name="connsiteY26" fmla="*/ 612175 h 1074786"/>
              <a:gd name="connsiteX27" fmla="*/ 906284 w 1379716"/>
              <a:gd name="connsiteY27" fmla="*/ 593238 h 1074786"/>
              <a:gd name="connsiteX28" fmla="*/ 933338 w 1379716"/>
              <a:gd name="connsiteY28" fmla="*/ 625702 h 1074786"/>
              <a:gd name="connsiteX29" fmla="*/ 919811 w 1379716"/>
              <a:gd name="connsiteY29" fmla="*/ 663577 h 1074786"/>
              <a:gd name="connsiteX30" fmla="*/ 919811 w 1379716"/>
              <a:gd name="connsiteY30" fmla="*/ 685219 h 1074786"/>
              <a:gd name="connsiteX31" fmla="*/ 1009087 w 1379716"/>
              <a:gd name="connsiteY31" fmla="*/ 774495 h 1074786"/>
              <a:gd name="connsiteX32" fmla="*/ 1022613 w 1379716"/>
              <a:gd name="connsiteY32" fmla="*/ 755558 h 1074786"/>
              <a:gd name="connsiteX33" fmla="*/ 1030729 w 1379716"/>
              <a:gd name="connsiteY33" fmla="*/ 755558 h 1074786"/>
              <a:gd name="connsiteX34" fmla="*/ 1038845 w 1379716"/>
              <a:gd name="connsiteY34" fmla="*/ 788022 h 1074786"/>
              <a:gd name="connsiteX35" fmla="*/ 1068604 w 1379716"/>
              <a:gd name="connsiteY35" fmla="*/ 820486 h 1074786"/>
              <a:gd name="connsiteX36" fmla="*/ 1068604 w 1379716"/>
              <a:gd name="connsiteY36" fmla="*/ 844833 h 1074786"/>
              <a:gd name="connsiteX37" fmla="*/ 1106478 w 1379716"/>
              <a:gd name="connsiteY37" fmla="*/ 882708 h 1074786"/>
              <a:gd name="connsiteX38" fmla="*/ 1120005 w 1379716"/>
              <a:gd name="connsiteY38" fmla="*/ 923288 h 1074786"/>
              <a:gd name="connsiteX39" fmla="*/ 1152469 w 1379716"/>
              <a:gd name="connsiteY39" fmla="*/ 944930 h 1074786"/>
              <a:gd name="connsiteX40" fmla="*/ 1176817 w 1379716"/>
              <a:gd name="connsiteY40" fmla="*/ 942225 h 1074786"/>
              <a:gd name="connsiteX41" fmla="*/ 1211986 w 1379716"/>
              <a:gd name="connsiteY41" fmla="*/ 999037 h 1074786"/>
              <a:gd name="connsiteX42" fmla="*/ 1241745 w 1379716"/>
              <a:gd name="connsiteY42" fmla="*/ 1015269 h 1074786"/>
              <a:gd name="connsiteX43" fmla="*/ 1260682 w 1379716"/>
              <a:gd name="connsiteY43" fmla="*/ 1031501 h 1074786"/>
              <a:gd name="connsiteX44" fmla="*/ 1266093 w 1379716"/>
              <a:gd name="connsiteY44" fmla="*/ 1039617 h 1074786"/>
              <a:gd name="connsiteX45" fmla="*/ 1252566 w 1379716"/>
              <a:gd name="connsiteY45" fmla="*/ 1047733 h 1074786"/>
              <a:gd name="connsiteX46" fmla="*/ 1247155 w 1379716"/>
              <a:gd name="connsiteY46" fmla="*/ 1055849 h 1074786"/>
              <a:gd name="connsiteX47" fmla="*/ 1268798 w 1379716"/>
              <a:gd name="connsiteY47" fmla="*/ 1074786 h 1074786"/>
              <a:gd name="connsiteX48" fmla="*/ 1282325 w 1379716"/>
              <a:gd name="connsiteY48" fmla="*/ 1069375 h 1074786"/>
              <a:gd name="connsiteX49" fmla="*/ 1298557 w 1379716"/>
              <a:gd name="connsiteY49" fmla="*/ 1053143 h 1074786"/>
              <a:gd name="connsiteX50" fmla="*/ 1314789 w 1379716"/>
              <a:gd name="connsiteY50" fmla="*/ 1034206 h 1074786"/>
              <a:gd name="connsiteX51" fmla="*/ 1341842 w 1379716"/>
              <a:gd name="connsiteY51" fmla="*/ 1039617 h 1074786"/>
              <a:gd name="connsiteX52" fmla="*/ 1349958 w 1379716"/>
              <a:gd name="connsiteY52" fmla="*/ 1015269 h 1074786"/>
              <a:gd name="connsiteX53" fmla="*/ 1363484 w 1379716"/>
              <a:gd name="connsiteY53" fmla="*/ 980100 h 1074786"/>
              <a:gd name="connsiteX54" fmla="*/ 1355368 w 1379716"/>
              <a:gd name="connsiteY54" fmla="*/ 950341 h 1074786"/>
              <a:gd name="connsiteX55" fmla="*/ 1360779 w 1379716"/>
              <a:gd name="connsiteY55" fmla="*/ 925993 h 1074786"/>
              <a:gd name="connsiteX56" fmla="*/ 1368895 w 1379716"/>
              <a:gd name="connsiteY56" fmla="*/ 890824 h 1074786"/>
              <a:gd name="connsiteX57" fmla="*/ 1379716 w 1379716"/>
              <a:gd name="connsiteY57" fmla="*/ 831307 h 1074786"/>
              <a:gd name="connsiteX58" fmla="*/ 1377011 w 1379716"/>
              <a:gd name="connsiteY58" fmla="*/ 752852 h 1074786"/>
              <a:gd name="connsiteX59" fmla="*/ 1352663 w 1379716"/>
              <a:gd name="connsiteY59" fmla="*/ 674398 h 1074786"/>
              <a:gd name="connsiteX60" fmla="*/ 1325610 w 1379716"/>
              <a:gd name="connsiteY60" fmla="*/ 614881 h 1074786"/>
              <a:gd name="connsiteX61" fmla="*/ 1328315 w 1379716"/>
              <a:gd name="connsiteY61" fmla="*/ 604059 h 1074786"/>
              <a:gd name="connsiteX62" fmla="*/ 1306673 w 1379716"/>
              <a:gd name="connsiteY62" fmla="*/ 560774 h 1074786"/>
              <a:gd name="connsiteX63" fmla="*/ 1266093 w 1379716"/>
              <a:gd name="connsiteY63" fmla="*/ 509373 h 1074786"/>
              <a:gd name="connsiteX64" fmla="*/ 1195754 w 1379716"/>
              <a:gd name="connsiteY64" fmla="*/ 403865 h 1074786"/>
              <a:gd name="connsiteX65" fmla="*/ 1184933 w 1379716"/>
              <a:gd name="connsiteY65" fmla="*/ 379517 h 1074786"/>
              <a:gd name="connsiteX66" fmla="*/ 1203870 w 1379716"/>
              <a:gd name="connsiteY66" fmla="*/ 374107 h 1074786"/>
              <a:gd name="connsiteX67" fmla="*/ 1230923 w 1379716"/>
              <a:gd name="connsiteY67" fmla="*/ 393044 h 1074786"/>
              <a:gd name="connsiteX68" fmla="*/ 1257977 w 1379716"/>
              <a:gd name="connsiteY68" fmla="*/ 471499 h 1074786"/>
              <a:gd name="connsiteX69" fmla="*/ 1217397 w 1379716"/>
              <a:gd name="connsiteY69" fmla="*/ 363286 h 1074786"/>
              <a:gd name="connsiteX70" fmla="*/ 1138942 w 1379716"/>
              <a:gd name="connsiteY70" fmla="*/ 287536 h 1074786"/>
              <a:gd name="connsiteX71" fmla="*/ 1117300 w 1379716"/>
              <a:gd name="connsiteY71" fmla="*/ 225314 h 1074786"/>
              <a:gd name="connsiteX72" fmla="*/ 1076720 w 1379716"/>
              <a:gd name="connsiteY72" fmla="*/ 176618 h 1074786"/>
              <a:gd name="connsiteX73" fmla="*/ 1057783 w 1379716"/>
              <a:gd name="connsiteY73" fmla="*/ 130628 h 1074786"/>
              <a:gd name="connsiteX74" fmla="*/ 1028024 w 1379716"/>
              <a:gd name="connsiteY74" fmla="*/ 68405 h 1074786"/>
              <a:gd name="connsiteX75" fmla="*/ 1011792 w 1379716"/>
              <a:gd name="connsiteY75" fmla="*/ 81932 h 1074786"/>
              <a:gd name="connsiteX76" fmla="*/ 1017203 w 1379716"/>
              <a:gd name="connsiteY76" fmla="*/ 119806 h 1074786"/>
              <a:gd name="connsiteX77" fmla="*/ 1025319 w 1379716"/>
              <a:gd name="connsiteY77" fmla="*/ 149565 h 1074786"/>
              <a:gd name="connsiteX78" fmla="*/ 1025319 w 1379716"/>
              <a:gd name="connsiteY78" fmla="*/ 165797 h 1074786"/>
              <a:gd name="connsiteX79" fmla="*/ 995560 w 1379716"/>
              <a:gd name="connsiteY79" fmla="*/ 144154 h 1074786"/>
              <a:gd name="connsiteX80" fmla="*/ 990149 w 1379716"/>
              <a:gd name="connsiteY80" fmla="*/ 111690 h 1074786"/>
              <a:gd name="connsiteX81" fmla="*/ 987444 w 1379716"/>
              <a:gd name="connsiteY81" fmla="*/ 84637 h 1074786"/>
              <a:gd name="connsiteX82" fmla="*/ 1006381 w 1379716"/>
              <a:gd name="connsiteY82" fmla="*/ 54878 h 1074786"/>
              <a:gd name="connsiteX83" fmla="*/ 1022938 w 1379716"/>
              <a:gd name="connsiteY83" fmla="*/ 0 h 1074786"/>
              <a:gd name="connsiteX84" fmla="*/ 968507 w 1379716"/>
              <a:gd name="connsiteY84" fmla="*/ 14299 h 1074786"/>
              <a:gd name="connsiteX85" fmla="*/ 941454 w 1379716"/>
              <a:gd name="connsiteY85" fmla="*/ 772 h 1074786"/>
              <a:gd name="connsiteX86" fmla="*/ 917106 w 1379716"/>
              <a:gd name="connsiteY86" fmla="*/ 19709 h 1074786"/>
              <a:gd name="connsiteX87" fmla="*/ 911695 w 1379716"/>
              <a:gd name="connsiteY87" fmla="*/ 98164 h 1074786"/>
              <a:gd name="connsiteX88" fmla="*/ 862999 w 1379716"/>
              <a:gd name="connsiteY88" fmla="*/ 81932 h 1074786"/>
              <a:gd name="connsiteX89" fmla="*/ 465316 w 1379716"/>
              <a:gd name="connsiteY89" fmla="*/ 119806 h 1074786"/>
              <a:gd name="connsiteX90" fmla="*/ 392273 w 1379716"/>
              <a:gd name="connsiteY90" fmla="*/ 92753 h 1074786"/>
              <a:gd name="connsiteX91" fmla="*/ 0 w 1379716"/>
              <a:gd name="connsiteY91" fmla="*/ 184734 h 1074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1379716" h="1074786">
                <a:moveTo>
                  <a:pt x="0" y="184734"/>
                </a:moveTo>
                <a:lnTo>
                  <a:pt x="27054" y="303768"/>
                </a:lnTo>
                <a:lnTo>
                  <a:pt x="48696" y="295652"/>
                </a:lnTo>
                <a:lnTo>
                  <a:pt x="64928" y="279420"/>
                </a:lnTo>
                <a:lnTo>
                  <a:pt x="70339" y="246957"/>
                </a:lnTo>
                <a:lnTo>
                  <a:pt x="105508" y="246957"/>
                </a:lnTo>
                <a:lnTo>
                  <a:pt x="135267" y="265894"/>
                </a:lnTo>
                <a:lnTo>
                  <a:pt x="208310" y="238841"/>
                </a:lnTo>
                <a:lnTo>
                  <a:pt x="257006" y="257778"/>
                </a:lnTo>
                <a:lnTo>
                  <a:pt x="281354" y="257778"/>
                </a:lnTo>
                <a:lnTo>
                  <a:pt x="327345" y="244251"/>
                </a:lnTo>
                <a:lnTo>
                  <a:pt x="348987" y="268599"/>
                </a:lnTo>
                <a:lnTo>
                  <a:pt x="351693" y="292947"/>
                </a:lnTo>
                <a:lnTo>
                  <a:pt x="373335" y="298358"/>
                </a:lnTo>
                <a:lnTo>
                  <a:pt x="416621" y="338938"/>
                </a:lnTo>
                <a:lnTo>
                  <a:pt x="435558" y="320000"/>
                </a:lnTo>
                <a:lnTo>
                  <a:pt x="478843" y="322706"/>
                </a:lnTo>
                <a:lnTo>
                  <a:pt x="541065" y="279420"/>
                </a:lnTo>
                <a:lnTo>
                  <a:pt x="554592" y="246957"/>
                </a:lnTo>
                <a:lnTo>
                  <a:pt x="578940" y="228019"/>
                </a:lnTo>
                <a:lnTo>
                  <a:pt x="646573" y="238841"/>
                </a:lnTo>
                <a:lnTo>
                  <a:pt x="692564" y="265894"/>
                </a:lnTo>
                <a:lnTo>
                  <a:pt x="711501" y="325411"/>
                </a:lnTo>
                <a:lnTo>
                  <a:pt x="825125" y="376812"/>
                </a:lnTo>
                <a:lnTo>
                  <a:pt x="854883" y="436329"/>
                </a:lnTo>
                <a:lnTo>
                  <a:pt x="862999" y="568890"/>
                </a:lnTo>
                <a:lnTo>
                  <a:pt x="887347" y="612175"/>
                </a:lnTo>
                <a:lnTo>
                  <a:pt x="906284" y="593238"/>
                </a:lnTo>
                <a:lnTo>
                  <a:pt x="933338" y="625702"/>
                </a:lnTo>
                <a:lnTo>
                  <a:pt x="919811" y="663577"/>
                </a:lnTo>
                <a:lnTo>
                  <a:pt x="919811" y="685219"/>
                </a:lnTo>
                <a:lnTo>
                  <a:pt x="1009087" y="774495"/>
                </a:lnTo>
                <a:lnTo>
                  <a:pt x="1022613" y="755558"/>
                </a:lnTo>
                <a:lnTo>
                  <a:pt x="1030729" y="755558"/>
                </a:lnTo>
                <a:lnTo>
                  <a:pt x="1038845" y="788022"/>
                </a:lnTo>
                <a:lnTo>
                  <a:pt x="1068604" y="820486"/>
                </a:lnTo>
                <a:lnTo>
                  <a:pt x="1068604" y="844833"/>
                </a:lnTo>
                <a:lnTo>
                  <a:pt x="1106478" y="882708"/>
                </a:lnTo>
                <a:lnTo>
                  <a:pt x="1120005" y="923288"/>
                </a:lnTo>
                <a:lnTo>
                  <a:pt x="1152469" y="944930"/>
                </a:lnTo>
                <a:lnTo>
                  <a:pt x="1176817" y="942225"/>
                </a:lnTo>
                <a:lnTo>
                  <a:pt x="1211986" y="999037"/>
                </a:lnTo>
                <a:lnTo>
                  <a:pt x="1241745" y="1015269"/>
                </a:lnTo>
                <a:lnTo>
                  <a:pt x="1260682" y="1031501"/>
                </a:lnTo>
                <a:lnTo>
                  <a:pt x="1266093" y="1039617"/>
                </a:lnTo>
                <a:lnTo>
                  <a:pt x="1252566" y="1047733"/>
                </a:lnTo>
                <a:lnTo>
                  <a:pt x="1247155" y="1055849"/>
                </a:lnTo>
                <a:lnTo>
                  <a:pt x="1268798" y="1074786"/>
                </a:lnTo>
                <a:lnTo>
                  <a:pt x="1282325" y="1069375"/>
                </a:lnTo>
                <a:lnTo>
                  <a:pt x="1298557" y="1053143"/>
                </a:lnTo>
                <a:lnTo>
                  <a:pt x="1314789" y="1034206"/>
                </a:lnTo>
                <a:lnTo>
                  <a:pt x="1341842" y="1039617"/>
                </a:lnTo>
                <a:lnTo>
                  <a:pt x="1349958" y="1015269"/>
                </a:lnTo>
                <a:lnTo>
                  <a:pt x="1363484" y="980100"/>
                </a:lnTo>
                <a:lnTo>
                  <a:pt x="1355368" y="950341"/>
                </a:lnTo>
                <a:lnTo>
                  <a:pt x="1360779" y="925993"/>
                </a:lnTo>
                <a:lnTo>
                  <a:pt x="1368895" y="890824"/>
                </a:lnTo>
                <a:lnTo>
                  <a:pt x="1379716" y="831307"/>
                </a:lnTo>
                <a:cubicBezTo>
                  <a:pt x="1378814" y="805155"/>
                  <a:pt x="1377913" y="779004"/>
                  <a:pt x="1377011" y="752852"/>
                </a:cubicBezTo>
                <a:lnTo>
                  <a:pt x="1352663" y="674398"/>
                </a:lnTo>
                <a:lnTo>
                  <a:pt x="1325610" y="614881"/>
                </a:lnTo>
                <a:lnTo>
                  <a:pt x="1328315" y="604059"/>
                </a:lnTo>
                <a:lnTo>
                  <a:pt x="1306673" y="560774"/>
                </a:lnTo>
                <a:lnTo>
                  <a:pt x="1266093" y="509373"/>
                </a:lnTo>
                <a:lnTo>
                  <a:pt x="1195754" y="403865"/>
                </a:lnTo>
                <a:lnTo>
                  <a:pt x="1184933" y="379517"/>
                </a:lnTo>
                <a:lnTo>
                  <a:pt x="1203870" y="374107"/>
                </a:lnTo>
                <a:lnTo>
                  <a:pt x="1230923" y="393044"/>
                </a:lnTo>
                <a:lnTo>
                  <a:pt x="1257977" y="471499"/>
                </a:lnTo>
                <a:lnTo>
                  <a:pt x="1217397" y="363286"/>
                </a:lnTo>
                <a:lnTo>
                  <a:pt x="1138942" y="287536"/>
                </a:lnTo>
                <a:lnTo>
                  <a:pt x="1117300" y="225314"/>
                </a:lnTo>
                <a:lnTo>
                  <a:pt x="1076720" y="176618"/>
                </a:lnTo>
                <a:lnTo>
                  <a:pt x="1057783" y="130628"/>
                </a:lnTo>
                <a:lnTo>
                  <a:pt x="1028024" y="68405"/>
                </a:lnTo>
                <a:lnTo>
                  <a:pt x="1011792" y="81932"/>
                </a:lnTo>
                <a:lnTo>
                  <a:pt x="1017203" y="119806"/>
                </a:lnTo>
                <a:lnTo>
                  <a:pt x="1025319" y="149565"/>
                </a:lnTo>
                <a:lnTo>
                  <a:pt x="1025319" y="165797"/>
                </a:lnTo>
                <a:lnTo>
                  <a:pt x="995560" y="144154"/>
                </a:lnTo>
                <a:lnTo>
                  <a:pt x="990149" y="111690"/>
                </a:lnTo>
                <a:lnTo>
                  <a:pt x="987444" y="84637"/>
                </a:lnTo>
                <a:lnTo>
                  <a:pt x="1006381" y="54878"/>
                </a:lnTo>
                <a:lnTo>
                  <a:pt x="1022938" y="0"/>
                </a:lnTo>
                <a:lnTo>
                  <a:pt x="968507" y="14299"/>
                </a:lnTo>
                <a:lnTo>
                  <a:pt x="941454" y="772"/>
                </a:lnTo>
                <a:lnTo>
                  <a:pt x="917106" y="19709"/>
                </a:lnTo>
                <a:lnTo>
                  <a:pt x="911695" y="98164"/>
                </a:lnTo>
                <a:lnTo>
                  <a:pt x="862999" y="81932"/>
                </a:lnTo>
                <a:lnTo>
                  <a:pt x="465316" y="119806"/>
                </a:lnTo>
                <a:lnTo>
                  <a:pt x="392273" y="92753"/>
                </a:lnTo>
                <a:lnTo>
                  <a:pt x="0" y="18473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6686165" y="3668890"/>
            <a:ext cx="1277906" cy="677346"/>
          </a:xfrm>
          <a:custGeom>
            <a:avLst/>
            <a:gdLst>
              <a:gd name="connsiteX0" fmla="*/ 360608 w 1311069"/>
              <a:gd name="connsiteY0" fmla="*/ 293638 h 698035"/>
              <a:gd name="connsiteX1" fmla="*/ 360608 w 1311069"/>
              <a:gd name="connsiteY1" fmla="*/ 355457 h 698035"/>
              <a:gd name="connsiteX2" fmla="*/ 324547 w 1311069"/>
              <a:gd name="connsiteY2" fmla="*/ 381215 h 698035"/>
              <a:gd name="connsiteX3" fmla="*/ 285911 w 1311069"/>
              <a:gd name="connsiteY3" fmla="*/ 381215 h 698035"/>
              <a:gd name="connsiteX4" fmla="*/ 257577 w 1311069"/>
              <a:gd name="connsiteY4" fmla="*/ 435306 h 698035"/>
              <a:gd name="connsiteX5" fmla="*/ 198334 w 1311069"/>
              <a:gd name="connsiteY5" fmla="*/ 435306 h 698035"/>
              <a:gd name="connsiteX6" fmla="*/ 182880 w 1311069"/>
              <a:gd name="connsiteY6" fmla="*/ 489397 h 698035"/>
              <a:gd name="connsiteX7" fmla="*/ 154546 w 1311069"/>
              <a:gd name="connsiteY7" fmla="*/ 515155 h 698035"/>
              <a:gd name="connsiteX8" fmla="*/ 103031 w 1311069"/>
              <a:gd name="connsiteY8" fmla="*/ 543489 h 698035"/>
              <a:gd name="connsiteX9" fmla="*/ 43788 w 1311069"/>
              <a:gd name="connsiteY9" fmla="*/ 592428 h 698035"/>
              <a:gd name="connsiteX10" fmla="*/ 30909 w 1311069"/>
              <a:gd name="connsiteY10" fmla="*/ 638792 h 698035"/>
              <a:gd name="connsiteX11" fmla="*/ 0 w 1311069"/>
              <a:gd name="connsiteY11" fmla="*/ 664550 h 698035"/>
              <a:gd name="connsiteX12" fmla="*/ 15454 w 1311069"/>
              <a:gd name="connsiteY12" fmla="*/ 698035 h 698035"/>
              <a:gd name="connsiteX13" fmla="*/ 185455 w 1311069"/>
              <a:gd name="connsiteY13" fmla="*/ 664550 h 698035"/>
              <a:gd name="connsiteX14" fmla="*/ 370911 w 1311069"/>
              <a:gd name="connsiteY14" fmla="*/ 569246 h 698035"/>
              <a:gd name="connsiteX15" fmla="*/ 504852 w 1311069"/>
              <a:gd name="connsiteY15" fmla="*/ 558943 h 698035"/>
              <a:gd name="connsiteX16" fmla="*/ 589852 w 1311069"/>
              <a:gd name="connsiteY16" fmla="*/ 600156 h 698035"/>
              <a:gd name="connsiteX17" fmla="*/ 749550 w 1311069"/>
              <a:gd name="connsiteY17" fmla="*/ 546064 h 698035"/>
              <a:gd name="connsiteX18" fmla="*/ 945309 w 1311069"/>
              <a:gd name="connsiteY18" fmla="*/ 677429 h 698035"/>
              <a:gd name="connsiteX19" fmla="*/ 976218 w 1311069"/>
              <a:gd name="connsiteY19" fmla="*/ 651671 h 698035"/>
              <a:gd name="connsiteX20" fmla="*/ 1009703 w 1311069"/>
              <a:gd name="connsiteY20" fmla="*/ 631065 h 698035"/>
              <a:gd name="connsiteX21" fmla="*/ 1050916 w 1311069"/>
              <a:gd name="connsiteY21" fmla="*/ 582125 h 698035"/>
              <a:gd name="connsiteX22" fmla="*/ 1071522 w 1311069"/>
              <a:gd name="connsiteY22" fmla="*/ 530610 h 698035"/>
              <a:gd name="connsiteX23" fmla="*/ 1115310 w 1311069"/>
              <a:gd name="connsiteY23" fmla="*/ 463640 h 698035"/>
              <a:gd name="connsiteX24" fmla="*/ 1151371 w 1311069"/>
              <a:gd name="connsiteY24" fmla="*/ 422427 h 698035"/>
              <a:gd name="connsiteX25" fmla="*/ 1190008 w 1311069"/>
              <a:gd name="connsiteY25" fmla="*/ 412124 h 698035"/>
              <a:gd name="connsiteX26" fmla="*/ 1231220 w 1311069"/>
              <a:gd name="connsiteY26" fmla="*/ 381215 h 698035"/>
              <a:gd name="connsiteX27" fmla="*/ 1238947 w 1311069"/>
              <a:gd name="connsiteY27" fmla="*/ 340002 h 698035"/>
              <a:gd name="connsiteX28" fmla="*/ 1223493 w 1311069"/>
              <a:gd name="connsiteY28" fmla="*/ 337427 h 698035"/>
              <a:gd name="connsiteX29" fmla="*/ 1197735 w 1311069"/>
              <a:gd name="connsiteY29" fmla="*/ 352881 h 698035"/>
              <a:gd name="connsiteX30" fmla="*/ 1184856 w 1311069"/>
              <a:gd name="connsiteY30" fmla="*/ 370912 h 698035"/>
              <a:gd name="connsiteX31" fmla="*/ 1159098 w 1311069"/>
              <a:gd name="connsiteY31" fmla="*/ 378639 h 698035"/>
              <a:gd name="connsiteX32" fmla="*/ 1138492 w 1311069"/>
              <a:gd name="connsiteY32" fmla="*/ 370912 h 698035"/>
              <a:gd name="connsiteX33" fmla="*/ 1133341 w 1311069"/>
              <a:gd name="connsiteY33" fmla="*/ 358033 h 698035"/>
              <a:gd name="connsiteX34" fmla="*/ 1146219 w 1311069"/>
              <a:gd name="connsiteY34" fmla="*/ 350305 h 698035"/>
              <a:gd name="connsiteX35" fmla="*/ 1164250 w 1311069"/>
              <a:gd name="connsiteY35" fmla="*/ 352881 h 698035"/>
              <a:gd name="connsiteX36" fmla="*/ 1177129 w 1311069"/>
              <a:gd name="connsiteY36" fmla="*/ 352881 h 698035"/>
              <a:gd name="connsiteX37" fmla="*/ 1184856 w 1311069"/>
              <a:gd name="connsiteY37" fmla="*/ 332275 h 698035"/>
              <a:gd name="connsiteX38" fmla="*/ 1187432 w 1311069"/>
              <a:gd name="connsiteY38" fmla="*/ 306517 h 698035"/>
              <a:gd name="connsiteX39" fmla="*/ 1169401 w 1311069"/>
              <a:gd name="connsiteY39" fmla="*/ 303941 h 698035"/>
              <a:gd name="connsiteX40" fmla="*/ 1138492 w 1311069"/>
              <a:gd name="connsiteY40" fmla="*/ 301366 h 698035"/>
              <a:gd name="connsiteX41" fmla="*/ 1123037 w 1311069"/>
              <a:gd name="connsiteY41" fmla="*/ 293638 h 698035"/>
              <a:gd name="connsiteX42" fmla="*/ 1135916 w 1311069"/>
              <a:gd name="connsiteY42" fmla="*/ 273032 h 698035"/>
              <a:gd name="connsiteX43" fmla="*/ 1156523 w 1311069"/>
              <a:gd name="connsiteY43" fmla="*/ 273032 h 698035"/>
              <a:gd name="connsiteX44" fmla="*/ 1171977 w 1311069"/>
              <a:gd name="connsiteY44" fmla="*/ 260153 h 698035"/>
              <a:gd name="connsiteX45" fmla="*/ 1195159 w 1311069"/>
              <a:gd name="connsiteY45" fmla="*/ 244699 h 698035"/>
              <a:gd name="connsiteX46" fmla="*/ 1220917 w 1311069"/>
              <a:gd name="connsiteY46" fmla="*/ 262729 h 698035"/>
              <a:gd name="connsiteX47" fmla="*/ 1251826 w 1311069"/>
              <a:gd name="connsiteY47" fmla="*/ 252426 h 698035"/>
              <a:gd name="connsiteX48" fmla="*/ 1269857 w 1311069"/>
              <a:gd name="connsiteY48" fmla="*/ 226668 h 698035"/>
              <a:gd name="connsiteX49" fmla="*/ 1293039 w 1311069"/>
              <a:gd name="connsiteY49" fmla="*/ 190607 h 698035"/>
              <a:gd name="connsiteX50" fmla="*/ 1280160 w 1311069"/>
              <a:gd name="connsiteY50" fmla="*/ 136516 h 698035"/>
              <a:gd name="connsiteX51" fmla="*/ 1256978 w 1311069"/>
              <a:gd name="connsiteY51" fmla="*/ 123637 h 698035"/>
              <a:gd name="connsiteX52" fmla="*/ 1246675 w 1311069"/>
              <a:gd name="connsiteY52" fmla="*/ 149395 h 698035"/>
              <a:gd name="connsiteX53" fmla="*/ 1241523 w 1311069"/>
              <a:gd name="connsiteY53" fmla="*/ 167425 h 698035"/>
              <a:gd name="connsiteX54" fmla="*/ 1200311 w 1311069"/>
              <a:gd name="connsiteY54" fmla="*/ 154547 h 698035"/>
              <a:gd name="connsiteX55" fmla="*/ 1161674 w 1311069"/>
              <a:gd name="connsiteY55" fmla="*/ 162274 h 698035"/>
              <a:gd name="connsiteX56" fmla="*/ 1138492 w 1311069"/>
              <a:gd name="connsiteY56" fmla="*/ 177729 h 698035"/>
              <a:gd name="connsiteX57" fmla="*/ 1128189 w 1311069"/>
              <a:gd name="connsiteY57" fmla="*/ 151971 h 698035"/>
              <a:gd name="connsiteX58" fmla="*/ 1110159 w 1311069"/>
              <a:gd name="connsiteY58" fmla="*/ 123637 h 698035"/>
              <a:gd name="connsiteX59" fmla="*/ 1130765 w 1311069"/>
              <a:gd name="connsiteY59" fmla="*/ 110758 h 698035"/>
              <a:gd name="connsiteX60" fmla="*/ 1159098 w 1311069"/>
              <a:gd name="connsiteY60" fmla="*/ 131365 h 698035"/>
              <a:gd name="connsiteX61" fmla="*/ 1179704 w 1311069"/>
              <a:gd name="connsiteY61" fmla="*/ 121061 h 698035"/>
              <a:gd name="connsiteX62" fmla="*/ 1195159 w 1311069"/>
              <a:gd name="connsiteY62" fmla="*/ 118486 h 698035"/>
              <a:gd name="connsiteX63" fmla="*/ 1220917 w 1311069"/>
              <a:gd name="connsiteY63" fmla="*/ 95304 h 698035"/>
              <a:gd name="connsiteX64" fmla="*/ 1233796 w 1311069"/>
              <a:gd name="connsiteY64" fmla="*/ 95304 h 698035"/>
              <a:gd name="connsiteX65" fmla="*/ 1231220 w 1311069"/>
              <a:gd name="connsiteY65" fmla="*/ 74698 h 698035"/>
              <a:gd name="connsiteX66" fmla="*/ 1215765 w 1311069"/>
              <a:gd name="connsiteY66" fmla="*/ 28334 h 698035"/>
              <a:gd name="connsiteX67" fmla="*/ 1223493 w 1311069"/>
              <a:gd name="connsiteY67" fmla="*/ 25758 h 698035"/>
              <a:gd name="connsiteX68" fmla="*/ 1303342 w 1311069"/>
              <a:gd name="connsiteY68" fmla="*/ 121061 h 698035"/>
              <a:gd name="connsiteX69" fmla="*/ 1311069 w 1311069"/>
              <a:gd name="connsiteY69" fmla="*/ 115910 h 698035"/>
              <a:gd name="connsiteX70" fmla="*/ 1210614 w 1311069"/>
              <a:gd name="connsiteY70" fmla="*/ 0 h 698035"/>
              <a:gd name="connsiteX71" fmla="*/ 1156523 w 1311069"/>
              <a:gd name="connsiteY71" fmla="*/ 33485 h 698035"/>
              <a:gd name="connsiteX72" fmla="*/ 360608 w 1311069"/>
              <a:gd name="connsiteY72" fmla="*/ 293638 h 698035"/>
              <a:gd name="connsiteX0" fmla="*/ 360608 w 1311069"/>
              <a:gd name="connsiteY0" fmla="*/ 279360 h 698035"/>
              <a:gd name="connsiteX1" fmla="*/ 360608 w 1311069"/>
              <a:gd name="connsiteY1" fmla="*/ 355457 h 698035"/>
              <a:gd name="connsiteX2" fmla="*/ 324547 w 1311069"/>
              <a:gd name="connsiteY2" fmla="*/ 381215 h 698035"/>
              <a:gd name="connsiteX3" fmla="*/ 285911 w 1311069"/>
              <a:gd name="connsiteY3" fmla="*/ 381215 h 698035"/>
              <a:gd name="connsiteX4" fmla="*/ 257577 w 1311069"/>
              <a:gd name="connsiteY4" fmla="*/ 435306 h 698035"/>
              <a:gd name="connsiteX5" fmla="*/ 198334 w 1311069"/>
              <a:gd name="connsiteY5" fmla="*/ 435306 h 698035"/>
              <a:gd name="connsiteX6" fmla="*/ 182880 w 1311069"/>
              <a:gd name="connsiteY6" fmla="*/ 489397 h 698035"/>
              <a:gd name="connsiteX7" fmla="*/ 154546 w 1311069"/>
              <a:gd name="connsiteY7" fmla="*/ 515155 h 698035"/>
              <a:gd name="connsiteX8" fmla="*/ 103031 w 1311069"/>
              <a:gd name="connsiteY8" fmla="*/ 543489 h 698035"/>
              <a:gd name="connsiteX9" fmla="*/ 43788 w 1311069"/>
              <a:gd name="connsiteY9" fmla="*/ 592428 h 698035"/>
              <a:gd name="connsiteX10" fmla="*/ 30909 w 1311069"/>
              <a:gd name="connsiteY10" fmla="*/ 638792 h 698035"/>
              <a:gd name="connsiteX11" fmla="*/ 0 w 1311069"/>
              <a:gd name="connsiteY11" fmla="*/ 664550 h 698035"/>
              <a:gd name="connsiteX12" fmla="*/ 15454 w 1311069"/>
              <a:gd name="connsiteY12" fmla="*/ 698035 h 698035"/>
              <a:gd name="connsiteX13" fmla="*/ 185455 w 1311069"/>
              <a:gd name="connsiteY13" fmla="*/ 664550 h 698035"/>
              <a:gd name="connsiteX14" fmla="*/ 370911 w 1311069"/>
              <a:gd name="connsiteY14" fmla="*/ 569246 h 698035"/>
              <a:gd name="connsiteX15" fmla="*/ 504852 w 1311069"/>
              <a:gd name="connsiteY15" fmla="*/ 558943 h 698035"/>
              <a:gd name="connsiteX16" fmla="*/ 589852 w 1311069"/>
              <a:gd name="connsiteY16" fmla="*/ 600156 h 698035"/>
              <a:gd name="connsiteX17" fmla="*/ 749550 w 1311069"/>
              <a:gd name="connsiteY17" fmla="*/ 546064 h 698035"/>
              <a:gd name="connsiteX18" fmla="*/ 945309 w 1311069"/>
              <a:gd name="connsiteY18" fmla="*/ 677429 h 698035"/>
              <a:gd name="connsiteX19" fmla="*/ 976218 w 1311069"/>
              <a:gd name="connsiteY19" fmla="*/ 651671 h 698035"/>
              <a:gd name="connsiteX20" fmla="*/ 1009703 w 1311069"/>
              <a:gd name="connsiteY20" fmla="*/ 631065 h 698035"/>
              <a:gd name="connsiteX21" fmla="*/ 1050916 w 1311069"/>
              <a:gd name="connsiteY21" fmla="*/ 582125 h 698035"/>
              <a:gd name="connsiteX22" fmla="*/ 1071522 w 1311069"/>
              <a:gd name="connsiteY22" fmla="*/ 530610 h 698035"/>
              <a:gd name="connsiteX23" fmla="*/ 1115310 w 1311069"/>
              <a:gd name="connsiteY23" fmla="*/ 463640 h 698035"/>
              <a:gd name="connsiteX24" fmla="*/ 1151371 w 1311069"/>
              <a:gd name="connsiteY24" fmla="*/ 422427 h 698035"/>
              <a:gd name="connsiteX25" fmla="*/ 1190008 w 1311069"/>
              <a:gd name="connsiteY25" fmla="*/ 412124 h 698035"/>
              <a:gd name="connsiteX26" fmla="*/ 1231220 w 1311069"/>
              <a:gd name="connsiteY26" fmla="*/ 381215 h 698035"/>
              <a:gd name="connsiteX27" fmla="*/ 1238947 w 1311069"/>
              <a:gd name="connsiteY27" fmla="*/ 340002 h 698035"/>
              <a:gd name="connsiteX28" fmla="*/ 1223493 w 1311069"/>
              <a:gd name="connsiteY28" fmla="*/ 337427 h 698035"/>
              <a:gd name="connsiteX29" fmla="*/ 1197735 w 1311069"/>
              <a:gd name="connsiteY29" fmla="*/ 352881 h 698035"/>
              <a:gd name="connsiteX30" fmla="*/ 1184856 w 1311069"/>
              <a:gd name="connsiteY30" fmla="*/ 370912 h 698035"/>
              <a:gd name="connsiteX31" fmla="*/ 1159098 w 1311069"/>
              <a:gd name="connsiteY31" fmla="*/ 378639 h 698035"/>
              <a:gd name="connsiteX32" fmla="*/ 1138492 w 1311069"/>
              <a:gd name="connsiteY32" fmla="*/ 370912 h 698035"/>
              <a:gd name="connsiteX33" fmla="*/ 1133341 w 1311069"/>
              <a:gd name="connsiteY33" fmla="*/ 358033 h 698035"/>
              <a:gd name="connsiteX34" fmla="*/ 1146219 w 1311069"/>
              <a:gd name="connsiteY34" fmla="*/ 350305 h 698035"/>
              <a:gd name="connsiteX35" fmla="*/ 1164250 w 1311069"/>
              <a:gd name="connsiteY35" fmla="*/ 352881 h 698035"/>
              <a:gd name="connsiteX36" fmla="*/ 1177129 w 1311069"/>
              <a:gd name="connsiteY36" fmla="*/ 352881 h 698035"/>
              <a:gd name="connsiteX37" fmla="*/ 1184856 w 1311069"/>
              <a:gd name="connsiteY37" fmla="*/ 332275 h 698035"/>
              <a:gd name="connsiteX38" fmla="*/ 1187432 w 1311069"/>
              <a:gd name="connsiteY38" fmla="*/ 306517 h 698035"/>
              <a:gd name="connsiteX39" fmla="*/ 1169401 w 1311069"/>
              <a:gd name="connsiteY39" fmla="*/ 303941 h 698035"/>
              <a:gd name="connsiteX40" fmla="*/ 1138492 w 1311069"/>
              <a:gd name="connsiteY40" fmla="*/ 301366 h 698035"/>
              <a:gd name="connsiteX41" fmla="*/ 1123037 w 1311069"/>
              <a:gd name="connsiteY41" fmla="*/ 293638 h 698035"/>
              <a:gd name="connsiteX42" fmla="*/ 1135916 w 1311069"/>
              <a:gd name="connsiteY42" fmla="*/ 273032 h 698035"/>
              <a:gd name="connsiteX43" fmla="*/ 1156523 w 1311069"/>
              <a:gd name="connsiteY43" fmla="*/ 273032 h 698035"/>
              <a:gd name="connsiteX44" fmla="*/ 1171977 w 1311069"/>
              <a:gd name="connsiteY44" fmla="*/ 260153 h 698035"/>
              <a:gd name="connsiteX45" fmla="*/ 1195159 w 1311069"/>
              <a:gd name="connsiteY45" fmla="*/ 244699 h 698035"/>
              <a:gd name="connsiteX46" fmla="*/ 1220917 w 1311069"/>
              <a:gd name="connsiteY46" fmla="*/ 262729 h 698035"/>
              <a:gd name="connsiteX47" fmla="*/ 1251826 w 1311069"/>
              <a:gd name="connsiteY47" fmla="*/ 252426 h 698035"/>
              <a:gd name="connsiteX48" fmla="*/ 1269857 w 1311069"/>
              <a:gd name="connsiteY48" fmla="*/ 226668 h 698035"/>
              <a:gd name="connsiteX49" fmla="*/ 1293039 w 1311069"/>
              <a:gd name="connsiteY49" fmla="*/ 190607 h 698035"/>
              <a:gd name="connsiteX50" fmla="*/ 1280160 w 1311069"/>
              <a:gd name="connsiteY50" fmla="*/ 136516 h 698035"/>
              <a:gd name="connsiteX51" fmla="*/ 1256978 w 1311069"/>
              <a:gd name="connsiteY51" fmla="*/ 123637 h 698035"/>
              <a:gd name="connsiteX52" fmla="*/ 1246675 w 1311069"/>
              <a:gd name="connsiteY52" fmla="*/ 149395 h 698035"/>
              <a:gd name="connsiteX53" fmla="*/ 1241523 w 1311069"/>
              <a:gd name="connsiteY53" fmla="*/ 167425 h 698035"/>
              <a:gd name="connsiteX54" fmla="*/ 1200311 w 1311069"/>
              <a:gd name="connsiteY54" fmla="*/ 154547 h 698035"/>
              <a:gd name="connsiteX55" fmla="*/ 1161674 w 1311069"/>
              <a:gd name="connsiteY55" fmla="*/ 162274 h 698035"/>
              <a:gd name="connsiteX56" fmla="*/ 1138492 w 1311069"/>
              <a:gd name="connsiteY56" fmla="*/ 177729 h 698035"/>
              <a:gd name="connsiteX57" fmla="*/ 1128189 w 1311069"/>
              <a:gd name="connsiteY57" fmla="*/ 151971 h 698035"/>
              <a:gd name="connsiteX58" fmla="*/ 1110159 w 1311069"/>
              <a:gd name="connsiteY58" fmla="*/ 123637 h 698035"/>
              <a:gd name="connsiteX59" fmla="*/ 1130765 w 1311069"/>
              <a:gd name="connsiteY59" fmla="*/ 110758 h 698035"/>
              <a:gd name="connsiteX60" fmla="*/ 1159098 w 1311069"/>
              <a:gd name="connsiteY60" fmla="*/ 131365 h 698035"/>
              <a:gd name="connsiteX61" fmla="*/ 1179704 w 1311069"/>
              <a:gd name="connsiteY61" fmla="*/ 121061 h 698035"/>
              <a:gd name="connsiteX62" fmla="*/ 1195159 w 1311069"/>
              <a:gd name="connsiteY62" fmla="*/ 118486 h 698035"/>
              <a:gd name="connsiteX63" fmla="*/ 1220917 w 1311069"/>
              <a:gd name="connsiteY63" fmla="*/ 95304 h 698035"/>
              <a:gd name="connsiteX64" fmla="*/ 1233796 w 1311069"/>
              <a:gd name="connsiteY64" fmla="*/ 95304 h 698035"/>
              <a:gd name="connsiteX65" fmla="*/ 1231220 w 1311069"/>
              <a:gd name="connsiteY65" fmla="*/ 74698 h 698035"/>
              <a:gd name="connsiteX66" fmla="*/ 1215765 w 1311069"/>
              <a:gd name="connsiteY66" fmla="*/ 28334 h 698035"/>
              <a:gd name="connsiteX67" fmla="*/ 1223493 w 1311069"/>
              <a:gd name="connsiteY67" fmla="*/ 25758 h 698035"/>
              <a:gd name="connsiteX68" fmla="*/ 1303342 w 1311069"/>
              <a:gd name="connsiteY68" fmla="*/ 121061 h 698035"/>
              <a:gd name="connsiteX69" fmla="*/ 1311069 w 1311069"/>
              <a:gd name="connsiteY69" fmla="*/ 115910 h 698035"/>
              <a:gd name="connsiteX70" fmla="*/ 1210614 w 1311069"/>
              <a:gd name="connsiteY70" fmla="*/ 0 h 698035"/>
              <a:gd name="connsiteX71" fmla="*/ 1156523 w 1311069"/>
              <a:gd name="connsiteY71" fmla="*/ 33485 h 698035"/>
              <a:gd name="connsiteX72" fmla="*/ 360608 w 1311069"/>
              <a:gd name="connsiteY72" fmla="*/ 279360 h 698035"/>
              <a:gd name="connsiteX0" fmla="*/ 360608 w 1311069"/>
              <a:gd name="connsiteY0" fmla="*/ 279360 h 698035"/>
              <a:gd name="connsiteX1" fmla="*/ 360608 w 1311069"/>
              <a:gd name="connsiteY1" fmla="*/ 355457 h 698035"/>
              <a:gd name="connsiteX2" fmla="*/ 324547 w 1311069"/>
              <a:gd name="connsiteY2" fmla="*/ 381215 h 698035"/>
              <a:gd name="connsiteX3" fmla="*/ 285911 w 1311069"/>
              <a:gd name="connsiteY3" fmla="*/ 381215 h 698035"/>
              <a:gd name="connsiteX4" fmla="*/ 257577 w 1311069"/>
              <a:gd name="connsiteY4" fmla="*/ 435306 h 698035"/>
              <a:gd name="connsiteX5" fmla="*/ 198334 w 1311069"/>
              <a:gd name="connsiteY5" fmla="*/ 435306 h 698035"/>
              <a:gd name="connsiteX6" fmla="*/ 182880 w 1311069"/>
              <a:gd name="connsiteY6" fmla="*/ 489397 h 698035"/>
              <a:gd name="connsiteX7" fmla="*/ 154546 w 1311069"/>
              <a:gd name="connsiteY7" fmla="*/ 515155 h 698035"/>
              <a:gd name="connsiteX8" fmla="*/ 103031 w 1311069"/>
              <a:gd name="connsiteY8" fmla="*/ 543489 h 698035"/>
              <a:gd name="connsiteX9" fmla="*/ 43788 w 1311069"/>
              <a:gd name="connsiteY9" fmla="*/ 592428 h 698035"/>
              <a:gd name="connsiteX10" fmla="*/ 30909 w 1311069"/>
              <a:gd name="connsiteY10" fmla="*/ 638792 h 698035"/>
              <a:gd name="connsiteX11" fmla="*/ 0 w 1311069"/>
              <a:gd name="connsiteY11" fmla="*/ 664550 h 698035"/>
              <a:gd name="connsiteX12" fmla="*/ 15454 w 1311069"/>
              <a:gd name="connsiteY12" fmla="*/ 698035 h 698035"/>
              <a:gd name="connsiteX13" fmla="*/ 185455 w 1311069"/>
              <a:gd name="connsiteY13" fmla="*/ 664550 h 698035"/>
              <a:gd name="connsiteX14" fmla="*/ 370911 w 1311069"/>
              <a:gd name="connsiteY14" fmla="*/ 569246 h 698035"/>
              <a:gd name="connsiteX15" fmla="*/ 504852 w 1311069"/>
              <a:gd name="connsiteY15" fmla="*/ 558943 h 698035"/>
              <a:gd name="connsiteX16" fmla="*/ 589852 w 1311069"/>
              <a:gd name="connsiteY16" fmla="*/ 600156 h 698035"/>
              <a:gd name="connsiteX17" fmla="*/ 749550 w 1311069"/>
              <a:gd name="connsiteY17" fmla="*/ 546064 h 698035"/>
              <a:gd name="connsiteX18" fmla="*/ 945309 w 1311069"/>
              <a:gd name="connsiteY18" fmla="*/ 677429 h 698035"/>
              <a:gd name="connsiteX19" fmla="*/ 976218 w 1311069"/>
              <a:gd name="connsiteY19" fmla="*/ 651671 h 698035"/>
              <a:gd name="connsiteX20" fmla="*/ 1009703 w 1311069"/>
              <a:gd name="connsiteY20" fmla="*/ 631065 h 698035"/>
              <a:gd name="connsiteX21" fmla="*/ 1050916 w 1311069"/>
              <a:gd name="connsiteY21" fmla="*/ 582125 h 698035"/>
              <a:gd name="connsiteX22" fmla="*/ 1071522 w 1311069"/>
              <a:gd name="connsiteY22" fmla="*/ 530610 h 698035"/>
              <a:gd name="connsiteX23" fmla="*/ 1115310 w 1311069"/>
              <a:gd name="connsiteY23" fmla="*/ 463640 h 698035"/>
              <a:gd name="connsiteX24" fmla="*/ 1151371 w 1311069"/>
              <a:gd name="connsiteY24" fmla="*/ 422427 h 698035"/>
              <a:gd name="connsiteX25" fmla="*/ 1190008 w 1311069"/>
              <a:gd name="connsiteY25" fmla="*/ 412124 h 698035"/>
              <a:gd name="connsiteX26" fmla="*/ 1231220 w 1311069"/>
              <a:gd name="connsiteY26" fmla="*/ 381215 h 698035"/>
              <a:gd name="connsiteX27" fmla="*/ 1238947 w 1311069"/>
              <a:gd name="connsiteY27" fmla="*/ 340002 h 698035"/>
              <a:gd name="connsiteX28" fmla="*/ 1223493 w 1311069"/>
              <a:gd name="connsiteY28" fmla="*/ 337427 h 698035"/>
              <a:gd name="connsiteX29" fmla="*/ 1197735 w 1311069"/>
              <a:gd name="connsiteY29" fmla="*/ 352881 h 698035"/>
              <a:gd name="connsiteX30" fmla="*/ 1184856 w 1311069"/>
              <a:gd name="connsiteY30" fmla="*/ 370912 h 698035"/>
              <a:gd name="connsiteX31" fmla="*/ 1159098 w 1311069"/>
              <a:gd name="connsiteY31" fmla="*/ 378639 h 698035"/>
              <a:gd name="connsiteX32" fmla="*/ 1138492 w 1311069"/>
              <a:gd name="connsiteY32" fmla="*/ 370912 h 698035"/>
              <a:gd name="connsiteX33" fmla="*/ 1133341 w 1311069"/>
              <a:gd name="connsiteY33" fmla="*/ 358033 h 698035"/>
              <a:gd name="connsiteX34" fmla="*/ 1146219 w 1311069"/>
              <a:gd name="connsiteY34" fmla="*/ 350305 h 698035"/>
              <a:gd name="connsiteX35" fmla="*/ 1164250 w 1311069"/>
              <a:gd name="connsiteY35" fmla="*/ 352881 h 698035"/>
              <a:gd name="connsiteX36" fmla="*/ 1177129 w 1311069"/>
              <a:gd name="connsiteY36" fmla="*/ 352881 h 698035"/>
              <a:gd name="connsiteX37" fmla="*/ 1184856 w 1311069"/>
              <a:gd name="connsiteY37" fmla="*/ 332275 h 698035"/>
              <a:gd name="connsiteX38" fmla="*/ 1187432 w 1311069"/>
              <a:gd name="connsiteY38" fmla="*/ 306517 h 698035"/>
              <a:gd name="connsiteX39" fmla="*/ 1169401 w 1311069"/>
              <a:gd name="connsiteY39" fmla="*/ 303941 h 698035"/>
              <a:gd name="connsiteX40" fmla="*/ 1138492 w 1311069"/>
              <a:gd name="connsiteY40" fmla="*/ 301366 h 698035"/>
              <a:gd name="connsiteX41" fmla="*/ 1123037 w 1311069"/>
              <a:gd name="connsiteY41" fmla="*/ 293638 h 698035"/>
              <a:gd name="connsiteX42" fmla="*/ 1135916 w 1311069"/>
              <a:gd name="connsiteY42" fmla="*/ 273032 h 698035"/>
              <a:gd name="connsiteX43" fmla="*/ 1156523 w 1311069"/>
              <a:gd name="connsiteY43" fmla="*/ 273032 h 698035"/>
              <a:gd name="connsiteX44" fmla="*/ 1171977 w 1311069"/>
              <a:gd name="connsiteY44" fmla="*/ 260153 h 698035"/>
              <a:gd name="connsiteX45" fmla="*/ 1195159 w 1311069"/>
              <a:gd name="connsiteY45" fmla="*/ 244699 h 698035"/>
              <a:gd name="connsiteX46" fmla="*/ 1220917 w 1311069"/>
              <a:gd name="connsiteY46" fmla="*/ 262729 h 698035"/>
              <a:gd name="connsiteX47" fmla="*/ 1251826 w 1311069"/>
              <a:gd name="connsiteY47" fmla="*/ 252426 h 698035"/>
              <a:gd name="connsiteX48" fmla="*/ 1269857 w 1311069"/>
              <a:gd name="connsiteY48" fmla="*/ 226668 h 698035"/>
              <a:gd name="connsiteX49" fmla="*/ 1293039 w 1311069"/>
              <a:gd name="connsiteY49" fmla="*/ 190607 h 698035"/>
              <a:gd name="connsiteX50" fmla="*/ 1280160 w 1311069"/>
              <a:gd name="connsiteY50" fmla="*/ 136516 h 698035"/>
              <a:gd name="connsiteX51" fmla="*/ 1256978 w 1311069"/>
              <a:gd name="connsiteY51" fmla="*/ 123637 h 698035"/>
              <a:gd name="connsiteX52" fmla="*/ 1246675 w 1311069"/>
              <a:gd name="connsiteY52" fmla="*/ 149395 h 698035"/>
              <a:gd name="connsiteX53" fmla="*/ 1241523 w 1311069"/>
              <a:gd name="connsiteY53" fmla="*/ 167425 h 698035"/>
              <a:gd name="connsiteX54" fmla="*/ 1200311 w 1311069"/>
              <a:gd name="connsiteY54" fmla="*/ 154547 h 698035"/>
              <a:gd name="connsiteX55" fmla="*/ 1161674 w 1311069"/>
              <a:gd name="connsiteY55" fmla="*/ 162274 h 698035"/>
              <a:gd name="connsiteX56" fmla="*/ 1138492 w 1311069"/>
              <a:gd name="connsiteY56" fmla="*/ 177729 h 698035"/>
              <a:gd name="connsiteX57" fmla="*/ 1128189 w 1311069"/>
              <a:gd name="connsiteY57" fmla="*/ 151971 h 698035"/>
              <a:gd name="connsiteX58" fmla="*/ 1110159 w 1311069"/>
              <a:gd name="connsiteY58" fmla="*/ 123637 h 698035"/>
              <a:gd name="connsiteX59" fmla="*/ 1130765 w 1311069"/>
              <a:gd name="connsiteY59" fmla="*/ 110758 h 698035"/>
              <a:gd name="connsiteX60" fmla="*/ 1159098 w 1311069"/>
              <a:gd name="connsiteY60" fmla="*/ 131365 h 698035"/>
              <a:gd name="connsiteX61" fmla="*/ 1179704 w 1311069"/>
              <a:gd name="connsiteY61" fmla="*/ 121061 h 698035"/>
              <a:gd name="connsiteX62" fmla="*/ 1195159 w 1311069"/>
              <a:gd name="connsiteY62" fmla="*/ 118486 h 698035"/>
              <a:gd name="connsiteX63" fmla="*/ 1220917 w 1311069"/>
              <a:gd name="connsiteY63" fmla="*/ 95304 h 698035"/>
              <a:gd name="connsiteX64" fmla="*/ 1233796 w 1311069"/>
              <a:gd name="connsiteY64" fmla="*/ 95304 h 698035"/>
              <a:gd name="connsiteX65" fmla="*/ 1231220 w 1311069"/>
              <a:gd name="connsiteY65" fmla="*/ 74698 h 698035"/>
              <a:gd name="connsiteX66" fmla="*/ 1215765 w 1311069"/>
              <a:gd name="connsiteY66" fmla="*/ 28334 h 698035"/>
              <a:gd name="connsiteX67" fmla="*/ 1223493 w 1311069"/>
              <a:gd name="connsiteY67" fmla="*/ 25758 h 698035"/>
              <a:gd name="connsiteX68" fmla="*/ 1303342 w 1311069"/>
              <a:gd name="connsiteY68" fmla="*/ 121061 h 698035"/>
              <a:gd name="connsiteX69" fmla="*/ 1311069 w 1311069"/>
              <a:gd name="connsiteY69" fmla="*/ 115910 h 698035"/>
              <a:gd name="connsiteX70" fmla="*/ 1210614 w 1311069"/>
              <a:gd name="connsiteY70" fmla="*/ 0 h 698035"/>
              <a:gd name="connsiteX71" fmla="*/ 1151761 w 1311069"/>
              <a:gd name="connsiteY71" fmla="*/ 26346 h 698035"/>
              <a:gd name="connsiteX72" fmla="*/ 360608 w 1311069"/>
              <a:gd name="connsiteY72" fmla="*/ 279360 h 698035"/>
              <a:gd name="connsiteX0" fmla="*/ 360608 w 1311069"/>
              <a:gd name="connsiteY0" fmla="*/ 279360 h 698035"/>
              <a:gd name="connsiteX1" fmla="*/ 360608 w 1311069"/>
              <a:gd name="connsiteY1" fmla="*/ 355457 h 698035"/>
              <a:gd name="connsiteX2" fmla="*/ 324547 w 1311069"/>
              <a:gd name="connsiteY2" fmla="*/ 381215 h 698035"/>
              <a:gd name="connsiteX3" fmla="*/ 285911 w 1311069"/>
              <a:gd name="connsiteY3" fmla="*/ 381215 h 698035"/>
              <a:gd name="connsiteX4" fmla="*/ 257577 w 1311069"/>
              <a:gd name="connsiteY4" fmla="*/ 435306 h 698035"/>
              <a:gd name="connsiteX5" fmla="*/ 198334 w 1311069"/>
              <a:gd name="connsiteY5" fmla="*/ 435306 h 698035"/>
              <a:gd name="connsiteX6" fmla="*/ 182880 w 1311069"/>
              <a:gd name="connsiteY6" fmla="*/ 489397 h 698035"/>
              <a:gd name="connsiteX7" fmla="*/ 154546 w 1311069"/>
              <a:gd name="connsiteY7" fmla="*/ 515155 h 698035"/>
              <a:gd name="connsiteX8" fmla="*/ 103031 w 1311069"/>
              <a:gd name="connsiteY8" fmla="*/ 543489 h 698035"/>
              <a:gd name="connsiteX9" fmla="*/ 43788 w 1311069"/>
              <a:gd name="connsiteY9" fmla="*/ 592428 h 698035"/>
              <a:gd name="connsiteX10" fmla="*/ 30909 w 1311069"/>
              <a:gd name="connsiteY10" fmla="*/ 638792 h 698035"/>
              <a:gd name="connsiteX11" fmla="*/ 0 w 1311069"/>
              <a:gd name="connsiteY11" fmla="*/ 664550 h 698035"/>
              <a:gd name="connsiteX12" fmla="*/ 15454 w 1311069"/>
              <a:gd name="connsiteY12" fmla="*/ 698035 h 698035"/>
              <a:gd name="connsiteX13" fmla="*/ 185455 w 1311069"/>
              <a:gd name="connsiteY13" fmla="*/ 664550 h 698035"/>
              <a:gd name="connsiteX14" fmla="*/ 370911 w 1311069"/>
              <a:gd name="connsiteY14" fmla="*/ 569246 h 698035"/>
              <a:gd name="connsiteX15" fmla="*/ 504852 w 1311069"/>
              <a:gd name="connsiteY15" fmla="*/ 558943 h 698035"/>
              <a:gd name="connsiteX16" fmla="*/ 589852 w 1311069"/>
              <a:gd name="connsiteY16" fmla="*/ 600156 h 698035"/>
              <a:gd name="connsiteX17" fmla="*/ 749550 w 1311069"/>
              <a:gd name="connsiteY17" fmla="*/ 546064 h 698035"/>
              <a:gd name="connsiteX18" fmla="*/ 945309 w 1311069"/>
              <a:gd name="connsiteY18" fmla="*/ 677429 h 698035"/>
              <a:gd name="connsiteX19" fmla="*/ 976218 w 1311069"/>
              <a:gd name="connsiteY19" fmla="*/ 651671 h 698035"/>
              <a:gd name="connsiteX20" fmla="*/ 1009703 w 1311069"/>
              <a:gd name="connsiteY20" fmla="*/ 631065 h 698035"/>
              <a:gd name="connsiteX21" fmla="*/ 1050916 w 1311069"/>
              <a:gd name="connsiteY21" fmla="*/ 582125 h 698035"/>
              <a:gd name="connsiteX22" fmla="*/ 1071522 w 1311069"/>
              <a:gd name="connsiteY22" fmla="*/ 530610 h 698035"/>
              <a:gd name="connsiteX23" fmla="*/ 1115310 w 1311069"/>
              <a:gd name="connsiteY23" fmla="*/ 463640 h 698035"/>
              <a:gd name="connsiteX24" fmla="*/ 1151371 w 1311069"/>
              <a:gd name="connsiteY24" fmla="*/ 422427 h 698035"/>
              <a:gd name="connsiteX25" fmla="*/ 1190008 w 1311069"/>
              <a:gd name="connsiteY25" fmla="*/ 412124 h 698035"/>
              <a:gd name="connsiteX26" fmla="*/ 1231220 w 1311069"/>
              <a:gd name="connsiteY26" fmla="*/ 381215 h 698035"/>
              <a:gd name="connsiteX27" fmla="*/ 1238947 w 1311069"/>
              <a:gd name="connsiteY27" fmla="*/ 340002 h 698035"/>
              <a:gd name="connsiteX28" fmla="*/ 1223493 w 1311069"/>
              <a:gd name="connsiteY28" fmla="*/ 337427 h 698035"/>
              <a:gd name="connsiteX29" fmla="*/ 1197735 w 1311069"/>
              <a:gd name="connsiteY29" fmla="*/ 352881 h 698035"/>
              <a:gd name="connsiteX30" fmla="*/ 1184856 w 1311069"/>
              <a:gd name="connsiteY30" fmla="*/ 370912 h 698035"/>
              <a:gd name="connsiteX31" fmla="*/ 1159098 w 1311069"/>
              <a:gd name="connsiteY31" fmla="*/ 378639 h 698035"/>
              <a:gd name="connsiteX32" fmla="*/ 1138492 w 1311069"/>
              <a:gd name="connsiteY32" fmla="*/ 370912 h 698035"/>
              <a:gd name="connsiteX33" fmla="*/ 1133341 w 1311069"/>
              <a:gd name="connsiteY33" fmla="*/ 358033 h 698035"/>
              <a:gd name="connsiteX34" fmla="*/ 1146219 w 1311069"/>
              <a:gd name="connsiteY34" fmla="*/ 350305 h 698035"/>
              <a:gd name="connsiteX35" fmla="*/ 1164250 w 1311069"/>
              <a:gd name="connsiteY35" fmla="*/ 352881 h 698035"/>
              <a:gd name="connsiteX36" fmla="*/ 1177129 w 1311069"/>
              <a:gd name="connsiteY36" fmla="*/ 352881 h 698035"/>
              <a:gd name="connsiteX37" fmla="*/ 1184856 w 1311069"/>
              <a:gd name="connsiteY37" fmla="*/ 332275 h 698035"/>
              <a:gd name="connsiteX38" fmla="*/ 1187432 w 1311069"/>
              <a:gd name="connsiteY38" fmla="*/ 306517 h 698035"/>
              <a:gd name="connsiteX39" fmla="*/ 1169401 w 1311069"/>
              <a:gd name="connsiteY39" fmla="*/ 303941 h 698035"/>
              <a:gd name="connsiteX40" fmla="*/ 1138492 w 1311069"/>
              <a:gd name="connsiteY40" fmla="*/ 301366 h 698035"/>
              <a:gd name="connsiteX41" fmla="*/ 1123037 w 1311069"/>
              <a:gd name="connsiteY41" fmla="*/ 293638 h 698035"/>
              <a:gd name="connsiteX42" fmla="*/ 1135916 w 1311069"/>
              <a:gd name="connsiteY42" fmla="*/ 273032 h 698035"/>
              <a:gd name="connsiteX43" fmla="*/ 1156523 w 1311069"/>
              <a:gd name="connsiteY43" fmla="*/ 273032 h 698035"/>
              <a:gd name="connsiteX44" fmla="*/ 1171977 w 1311069"/>
              <a:gd name="connsiteY44" fmla="*/ 260153 h 698035"/>
              <a:gd name="connsiteX45" fmla="*/ 1195159 w 1311069"/>
              <a:gd name="connsiteY45" fmla="*/ 244699 h 698035"/>
              <a:gd name="connsiteX46" fmla="*/ 1220917 w 1311069"/>
              <a:gd name="connsiteY46" fmla="*/ 262729 h 698035"/>
              <a:gd name="connsiteX47" fmla="*/ 1251826 w 1311069"/>
              <a:gd name="connsiteY47" fmla="*/ 252426 h 698035"/>
              <a:gd name="connsiteX48" fmla="*/ 1269857 w 1311069"/>
              <a:gd name="connsiteY48" fmla="*/ 226668 h 698035"/>
              <a:gd name="connsiteX49" fmla="*/ 1293039 w 1311069"/>
              <a:gd name="connsiteY49" fmla="*/ 190607 h 698035"/>
              <a:gd name="connsiteX50" fmla="*/ 1280160 w 1311069"/>
              <a:gd name="connsiteY50" fmla="*/ 136516 h 698035"/>
              <a:gd name="connsiteX51" fmla="*/ 1256978 w 1311069"/>
              <a:gd name="connsiteY51" fmla="*/ 123637 h 698035"/>
              <a:gd name="connsiteX52" fmla="*/ 1246675 w 1311069"/>
              <a:gd name="connsiteY52" fmla="*/ 149395 h 698035"/>
              <a:gd name="connsiteX53" fmla="*/ 1241523 w 1311069"/>
              <a:gd name="connsiteY53" fmla="*/ 167425 h 698035"/>
              <a:gd name="connsiteX54" fmla="*/ 1200311 w 1311069"/>
              <a:gd name="connsiteY54" fmla="*/ 154547 h 698035"/>
              <a:gd name="connsiteX55" fmla="*/ 1161674 w 1311069"/>
              <a:gd name="connsiteY55" fmla="*/ 162274 h 698035"/>
              <a:gd name="connsiteX56" fmla="*/ 1138492 w 1311069"/>
              <a:gd name="connsiteY56" fmla="*/ 177729 h 698035"/>
              <a:gd name="connsiteX57" fmla="*/ 1128189 w 1311069"/>
              <a:gd name="connsiteY57" fmla="*/ 151971 h 698035"/>
              <a:gd name="connsiteX58" fmla="*/ 1110159 w 1311069"/>
              <a:gd name="connsiteY58" fmla="*/ 123637 h 698035"/>
              <a:gd name="connsiteX59" fmla="*/ 1130765 w 1311069"/>
              <a:gd name="connsiteY59" fmla="*/ 110758 h 698035"/>
              <a:gd name="connsiteX60" fmla="*/ 1159098 w 1311069"/>
              <a:gd name="connsiteY60" fmla="*/ 131365 h 698035"/>
              <a:gd name="connsiteX61" fmla="*/ 1179704 w 1311069"/>
              <a:gd name="connsiteY61" fmla="*/ 121061 h 698035"/>
              <a:gd name="connsiteX62" fmla="*/ 1195159 w 1311069"/>
              <a:gd name="connsiteY62" fmla="*/ 118486 h 698035"/>
              <a:gd name="connsiteX63" fmla="*/ 1220917 w 1311069"/>
              <a:gd name="connsiteY63" fmla="*/ 95304 h 698035"/>
              <a:gd name="connsiteX64" fmla="*/ 1233796 w 1311069"/>
              <a:gd name="connsiteY64" fmla="*/ 95304 h 698035"/>
              <a:gd name="connsiteX65" fmla="*/ 1231220 w 1311069"/>
              <a:gd name="connsiteY65" fmla="*/ 74698 h 698035"/>
              <a:gd name="connsiteX66" fmla="*/ 1215765 w 1311069"/>
              <a:gd name="connsiteY66" fmla="*/ 28334 h 698035"/>
              <a:gd name="connsiteX67" fmla="*/ 1223493 w 1311069"/>
              <a:gd name="connsiteY67" fmla="*/ 25758 h 698035"/>
              <a:gd name="connsiteX68" fmla="*/ 1303342 w 1311069"/>
              <a:gd name="connsiteY68" fmla="*/ 121061 h 698035"/>
              <a:gd name="connsiteX69" fmla="*/ 1311069 w 1311069"/>
              <a:gd name="connsiteY69" fmla="*/ 115910 h 698035"/>
              <a:gd name="connsiteX70" fmla="*/ 1210614 w 1311069"/>
              <a:gd name="connsiteY70" fmla="*/ 0 h 698035"/>
              <a:gd name="connsiteX71" fmla="*/ 935101 w 1311069"/>
              <a:gd name="connsiteY71" fmla="*/ 88218 h 698035"/>
              <a:gd name="connsiteX72" fmla="*/ 360608 w 1311069"/>
              <a:gd name="connsiteY72" fmla="*/ 279360 h 698035"/>
              <a:gd name="connsiteX0" fmla="*/ 372512 w 1322973"/>
              <a:gd name="connsiteY0" fmla="*/ 279360 h 698035"/>
              <a:gd name="connsiteX1" fmla="*/ 372512 w 1322973"/>
              <a:gd name="connsiteY1" fmla="*/ 355457 h 698035"/>
              <a:gd name="connsiteX2" fmla="*/ 336451 w 1322973"/>
              <a:gd name="connsiteY2" fmla="*/ 381215 h 698035"/>
              <a:gd name="connsiteX3" fmla="*/ 297815 w 1322973"/>
              <a:gd name="connsiteY3" fmla="*/ 381215 h 698035"/>
              <a:gd name="connsiteX4" fmla="*/ 269481 w 1322973"/>
              <a:gd name="connsiteY4" fmla="*/ 435306 h 698035"/>
              <a:gd name="connsiteX5" fmla="*/ 210238 w 1322973"/>
              <a:gd name="connsiteY5" fmla="*/ 435306 h 698035"/>
              <a:gd name="connsiteX6" fmla="*/ 194784 w 1322973"/>
              <a:gd name="connsiteY6" fmla="*/ 489397 h 698035"/>
              <a:gd name="connsiteX7" fmla="*/ 166450 w 1322973"/>
              <a:gd name="connsiteY7" fmla="*/ 515155 h 698035"/>
              <a:gd name="connsiteX8" fmla="*/ 114935 w 1322973"/>
              <a:gd name="connsiteY8" fmla="*/ 543489 h 698035"/>
              <a:gd name="connsiteX9" fmla="*/ 55692 w 1322973"/>
              <a:gd name="connsiteY9" fmla="*/ 592428 h 698035"/>
              <a:gd name="connsiteX10" fmla="*/ 42813 w 1322973"/>
              <a:gd name="connsiteY10" fmla="*/ 638792 h 698035"/>
              <a:gd name="connsiteX11" fmla="*/ 0 w 1322973"/>
              <a:gd name="connsiteY11" fmla="*/ 664550 h 698035"/>
              <a:gd name="connsiteX12" fmla="*/ 27358 w 1322973"/>
              <a:gd name="connsiteY12" fmla="*/ 698035 h 698035"/>
              <a:gd name="connsiteX13" fmla="*/ 197359 w 1322973"/>
              <a:gd name="connsiteY13" fmla="*/ 664550 h 698035"/>
              <a:gd name="connsiteX14" fmla="*/ 382815 w 1322973"/>
              <a:gd name="connsiteY14" fmla="*/ 569246 h 698035"/>
              <a:gd name="connsiteX15" fmla="*/ 516756 w 1322973"/>
              <a:gd name="connsiteY15" fmla="*/ 558943 h 698035"/>
              <a:gd name="connsiteX16" fmla="*/ 601756 w 1322973"/>
              <a:gd name="connsiteY16" fmla="*/ 600156 h 698035"/>
              <a:gd name="connsiteX17" fmla="*/ 761454 w 1322973"/>
              <a:gd name="connsiteY17" fmla="*/ 546064 h 698035"/>
              <a:gd name="connsiteX18" fmla="*/ 957213 w 1322973"/>
              <a:gd name="connsiteY18" fmla="*/ 677429 h 698035"/>
              <a:gd name="connsiteX19" fmla="*/ 988122 w 1322973"/>
              <a:gd name="connsiteY19" fmla="*/ 651671 h 698035"/>
              <a:gd name="connsiteX20" fmla="*/ 1021607 w 1322973"/>
              <a:gd name="connsiteY20" fmla="*/ 631065 h 698035"/>
              <a:gd name="connsiteX21" fmla="*/ 1062820 w 1322973"/>
              <a:gd name="connsiteY21" fmla="*/ 582125 h 698035"/>
              <a:gd name="connsiteX22" fmla="*/ 1083426 w 1322973"/>
              <a:gd name="connsiteY22" fmla="*/ 530610 h 698035"/>
              <a:gd name="connsiteX23" fmla="*/ 1127214 w 1322973"/>
              <a:gd name="connsiteY23" fmla="*/ 463640 h 698035"/>
              <a:gd name="connsiteX24" fmla="*/ 1163275 w 1322973"/>
              <a:gd name="connsiteY24" fmla="*/ 422427 h 698035"/>
              <a:gd name="connsiteX25" fmla="*/ 1201912 w 1322973"/>
              <a:gd name="connsiteY25" fmla="*/ 412124 h 698035"/>
              <a:gd name="connsiteX26" fmla="*/ 1243124 w 1322973"/>
              <a:gd name="connsiteY26" fmla="*/ 381215 h 698035"/>
              <a:gd name="connsiteX27" fmla="*/ 1250851 w 1322973"/>
              <a:gd name="connsiteY27" fmla="*/ 340002 h 698035"/>
              <a:gd name="connsiteX28" fmla="*/ 1235397 w 1322973"/>
              <a:gd name="connsiteY28" fmla="*/ 337427 h 698035"/>
              <a:gd name="connsiteX29" fmla="*/ 1209639 w 1322973"/>
              <a:gd name="connsiteY29" fmla="*/ 352881 h 698035"/>
              <a:gd name="connsiteX30" fmla="*/ 1196760 w 1322973"/>
              <a:gd name="connsiteY30" fmla="*/ 370912 h 698035"/>
              <a:gd name="connsiteX31" fmla="*/ 1171002 w 1322973"/>
              <a:gd name="connsiteY31" fmla="*/ 378639 h 698035"/>
              <a:gd name="connsiteX32" fmla="*/ 1150396 w 1322973"/>
              <a:gd name="connsiteY32" fmla="*/ 370912 h 698035"/>
              <a:gd name="connsiteX33" fmla="*/ 1145245 w 1322973"/>
              <a:gd name="connsiteY33" fmla="*/ 358033 h 698035"/>
              <a:gd name="connsiteX34" fmla="*/ 1158123 w 1322973"/>
              <a:gd name="connsiteY34" fmla="*/ 350305 h 698035"/>
              <a:gd name="connsiteX35" fmla="*/ 1176154 w 1322973"/>
              <a:gd name="connsiteY35" fmla="*/ 352881 h 698035"/>
              <a:gd name="connsiteX36" fmla="*/ 1189033 w 1322973"/>
              <a:gd name="connsiteY36" fmla="*/ 352881 h 698035"/>
              <a:gd name="connsiteX37" fmla="*/ 1196760 w 1322973"/>
              <a:gd name="connsiteY37" fmla="*/ 332275 h 698035"/>
              <a:gd name="connsiteX38" fmla="*/ 1199336 w 1322973"/>
              <a:gd name="connsiteY38" fmla="*/ 306517 h 698035"/>
              <a:gd name="connsiteX39" fmla="*/ 1181305 w 1322973"/>
              <a:gd name="connsiteY39" fmla="*/ 303941 h 698035"/>
              <a:gd name="connsiteX40" fmla="*/ 1150396 w 1322973"/>
              <a:gd name="connsiteY40" fmla="*/ 301366 h 698035"/>
              <a:gd name="connsiteX41" fmla="*/ 1134941 w 1322973"/>
              <a:gd name="connsiteY41" fmla="*/ 293638 h 698035"/>
              <a:gd name="connsiteX42" fmla="*/ 1147820 w 1322973"/>
              <a:gd name="connsiteY42" fmla="*/ 273032 h 698035"/>
              <a:gd name="connsiteX43" fmla="*/ 1168427 w 1322973"/>
              <a:gd name="connsiteY43" fmla="*/ 273032 h 698035"/>
              <a:gd name="connsiteX44" fmla="*/ 1183881 w 1322973"/>
              <a:gd name="connsiteY44" fmla="*/ 260153 h 698035"/>
              <a:gd name="connsiteX45" fmla="*/ 1207063 w 1322973"/>
              <a:gd name="connsiteY45" fmla="*/ 244699 h 698035"/>
              <a:gd name="connsiteX46" fmla="*/ 1232821 w 1322973"/>
              <a:gd name="connsiteY46" fmla="*/ 262729 h 698035"/>
              <a:gd name="connsiteX47" fmla="*/ 1263730 w 1322973"/>
              <a:gd name="connsiteY47" fmla="*/ 252426 h 698035"/>
              <a:gd name="connsiteX48" fmla="*/ 1281761 w 1322973"/>
              <a:gd name="connsiteY48" fmla="*/ 226668 h 698035"/>
              <a:gd name="connsiteX49" fmla="*/ 1304943 w 1322973"/>
              <a:gd name="connsiteY49" fmla="*/ 190607 h 698035"/>
              <a:gd name="connsiteX50" fmla="*/ 1292064 w 1322973"/>
              <a:gd name="connsiteY50" fmla="*/ 136516 h 698035"/>
              <a:gd name="connsiteX51" fmla="*/ 1268882 w 1322973"/>
              <a:gd name="connsiteY51" fmla="*/ 123637 h 698035"/>
              <a:gd name="connsiteX52" fmla="*/ 1258579 w 1322973"/>
              <a:gd name="connsiteY52" fmla="*/ 149395 h 698035"/>
              <a:gd name="connsiteX53" fmla="*/ 1253427 w 1322973"/>
              <a:gd name="connsiteY53" fmla="*/ 167425 h 698035"/>
              <a:gd name="connsiteX54" fmla="*/ 1212215 w 1322973"/>
              <a:gd name="connsiteY54" fmla="*/ 154547 h 698035"/>
              <a:gd name="connsiteX55" fmla="*/ 1173578 w 1322973"/>
              <a:gd name="connsiteY55" fmla="*/ 162274 h 698035"/>
              <a:gd name="connsiteX56" fmla="*/ 1150396 w 1322973"/>
              <a:gd name="connsiteY56" fmla="*/ 177729 h 698035"/>
              <a:gd name="connsiteX57" fmla="*/ 1140093 w 1322973"/>
              <a:gd name="connsiteY57" fmla="*/ 151971 h 698035"/>
              <a:gd name="connsiteX58" fmla="*/ 1122063 w 1322973"/>
              <a:gd name="connsiteY58" fmla="*/ 123637 h 698035"/>
              <a:gd name="connsiteX59" fmla="*/ 1142669 w 1322973"/>
              <a:gd name="connsiteY59" fmla="*/ 110758 h 698035"/>
              <a:gd name="connsiteX60" fmla="*/ 1171002 w 1322973"/>
              <a:gd name="connsiteY60" fmla="*/ 131365 h 698035"/>
              <a:gd name="connsiteX61" fmla="*/ 1191608 w 1322973"/>
              <a:gd name="connsiteY61" fmla="*/ 121061 h 698035"/>
              <a:gd name="connsiteX62" fmla="*/ 1207063 w 1322973"/>
              <a:gd name="connsiteY62" fmla="*/ 118486 h 698035"/>
              <a:gd name="connsiteX63" fmla="*/ 1232821 w 1322973"/>
              <a:gd name="connsiteY63" fmla="*/ 95304 h 698035"/>
              <a:gd name="connsiteX64" fmla="*/ 1245700 w 1322973"/>
              <a:gd name="connsiteY64" fmla="*/ 95304 h 698035"/>
              <a:gd name="connsiteX65" fmla="*/ 1243124 w 1322973"/>
              <a:gd name="connsiteY65" fmla="*/ 74698 h 698035"/>
              <a:gd name="connsiteX66" fmla="*/ 1227669 w 1322973"/>
              <a:gd name="connsiteY66" fmla="*/ 28334 h 698035"/>
              <a:gd name="connsiteX67" fmla="*/ 1235397 w 1322973"/>
              <a:gd name="connsiteY67" fmla="*/ 25758 h 698035"/>
              <a:gd name="connsiteX68" fmla="*/ 1315246 w 1322973"/>
              <a:gd name="connsiteY68" fmla="*/ 121061 h 698035"/>
              <a:gd name="connsiteX69" fmla="*/ 1322973 w 1322973"/>
              <a:gd name="connsiteY69" fmla="*/ 115910 h 698035"/>
              <a:gd name="connsiteX70" fmla="*/ 1222518 w 1322973"/>
              <a:gd name="connsiteY70" fmla="*/ 0 h 698035"/>
              <a:gd name="connsiteX71" fmla="*/ 947005 w 1322973"/>
              <a:gd name="connsiteY71" fmla="*/ 88218 h 698035"/>
              <a:gd name="connsiteX72" fmla="*/ 372512 w 1322973"/>
              <a:gd name="connsiteY72" fmla="*/ 279360 h 69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1322973" h="698035">
                <a:moveTo>
                  <a:pt x="372512" y="279360"/>
                </a:moveTo>
                <a:lnTo>
                  <a:pt x="372512" y="355457"/>
                </a:lnTo>
                <a:lnTo>
                  <a:pt x="336451" y="381215"/>
                </a:lnTo>
                <a:lnTo>
                  <a:pt x="297815" y="381215"/>
                </a:lnTo>
                <a:lnTo>
                  <a:pt x="269481" y="435306"/>
                </a:lnTo>
                <a:lnTo>
                  <a:pt x="210238" y="435306"/>
                </a:lnTo>
                <a:lnTo>
                  <a:pt x="194784" y="489397"/>
                </a:lnTo>
                <a:lnTo>
                  <a:pt x="166450" y="515155"/>
                </a:lnTo>
                <a:lnTo>
                  <a:pt x="114935" y="543489"/>
                </a:lnTo>
                <a:lnTo>
                  <a:pt x="55692" y="592428"/>
                </a:lnTo>
                <a:lnTo>
                  <a:pt x="42813" y="638792"/>
                </a:lnTo>
                <a:lnTo>
                  <a:pt x="0" y="664550"/>
                </a:lnTo>
                <a:lnTo>
                  <a:pt x="27358" y="698035"/>
                </a:lnTo>
                <a:lnTo>
                  <a:pt x="197359" y="664550"/>
                </a:lnTo>
                <a:lnTo>
                  <a:pt x="382815" y="569246"/>
                </a:lnTo>
                <a:lnTo>
                  <a:pt x="516756" y="558943"/>
                </a:lnTo>
                <a:lnTo>
                  <a:pt x="601756" y="600156"/>
                </a:lnTo>
                <a:lnTo>
                  <a:pt x="761454" y="546064"/>
                </a:lnTo>
                <a:lnTo>
                  <a:pt x="957213" y="677429"/>
                </a:lnTo>
                <a:lnTo>
                  <a:pt x="988122" y="651671"/>
                </a:lnTo>
                <a:lnTo>
                  <a:pt x="1021607" y="631065"/>
                </a:lnTo>
                <a:lnTo>
                  <a:pt x="1062820" y="582125"/>
                </a:lnTo>
                <a:lnTo>
                  <a:pt x="1083426" y="530610"/>
                </a:lnTo>
                <a:lnTo>
                  <a:pt x="1127214" y="463640"/>
                </a:lnTo>
                <a:lnTo>
                  <a:pt x="1163275" y="422427"/>
                </a:lnTo>
                <a:lnTo>
                  <a:pt x="1201912" y="412124"/>
                </a:lnTo>
                <a:lnTo>
                  <a:pt x="1243124" y="381215"/>
                </a:lnTo>
                <a:lnTo>
                  <a:pt x="1250851" y="340002"/>
                </a:lnTo>
                <a:lnTo>
                  <a:pt x="1235397" y="337427"/>
                </a:lnTo>
                <a:lnTo>
                  <a:pt x="1209639" y="352881"/>
                </a:lnTo>
                <a:lnTo>
                  <a:pt x="1196760" y="370912"/>
                </a:lnTo>
                <a:lnTo>
                  <a:pt x="1171002" y="378639"/>
                </a:lnTo>
                <a:lnTo>
                  <a:pt x="1150396" y="370912"/>
                </a:lnTo>
                <a:lnTo>
                  <a:pt x="1145245" y="358033"/>
                </a:lnTo>
                <a:lnTo>
                  <a:pt x="1158123" y="350305"/>
                </a:lnTo>
                <a:lnTo>
                  <a:pt x="1176154" y="352881"/>
                </a:lnTo>
                <a:lnTo>
                  <a:pt x="1189033" y="352881"/>
                </a:lnTo>
                <a:lnTo>
                  <a:pt x="1196760" y="332275"/>
                </a:lnTo>
                <a:lnTo>
                  <a:pt x="1199336" y="306517"/>
                </a:lnTo>
                <a:lnTo>
                  <a:pt x="1181305" y="303941"/>
                </a:lnTo>
                <a:lnTo>
                  <a:pt x="1150396" y="301366"/>
                </a:lnTo>
                <a:lnTo>
                  <a:pt x="1134941" y="293638"/>
                </a:lnTo>
                <a:lnTo>
                  <a:pt x="1147820" y="273032"/>
                </a:lnTo>
                <a:lnTo>
                  <a:pt x="1168427" y="273032"/>
                </a:lnTo>
                <a:lnTo>
                  <a:pt x="1183881" y="260153"/>
                </a:lnTo>
                <a:lnTo>
                  <a:pt x="1207063" y="244699"/>
                </a:lnTo>
                <a:lnTo>
                  <a:pt x="1232821" y="262729"/>
                </a:lnTo>
                <a:lnTo>
                  <a:pt x="1263730" y="252426"/>
                </a:lnTo>
                <a:lnTo>
                  <a:pt x="1281761" y="226668"/>
                </a:lnTo>
                <a:lnTo>
                  <a:pt x="1304943" y="190607"/>
                </a:lnTo>
                <a:lnTo>
                  <a:pt x="1292064" y="136516"/>
                </a:lnTo>
                <a:lnTo>
                  <a:pt x="1268882" y="123637"/>
                </a:lnTo>
                <a:lnTo>
                  <a:pt x="1258579" y="149395"/>
                </a:lnTo>
                <a:lnTo>
                  <a:pt x="1253427" y="167425"/>
                </a:lnTo>
                <a:lnTo>
                  <a:pt x="1212215" y="154547"/>
                </a:lnTo>
                <a:lnTo>
                  <a:pt x="1173578" y="162274"/>
                </a:lnTo>
                <a:lnTo>
                  <a:pt x="1150396" y="177729"/>
                </a:lnTo>
                <a:lnTo>
                  <a:pt x="1140093" y="151971"/>
                </a:lnTo>
                <a:lnTo>
                  <a:pt x="1122063" y="123637"/>
                </a:lnTo>
                <a:lnTo>
                  <a:pt x="1142669" y="110758"/>
                </a:lnTo>
                <a:lnTo>
                  <a:pt x="1171002" y="131365"/>
                </a:lnTo>
                <a:lnTo>
                  <a:pt x="1191608" y="121061"/>
                </a:lnTo>
                <a:lnTo>
                  <a:pt x="1207063" y="118486"/>
                </a:lnTo>
                <a:lnTo>
                  <a:pt x="1232821" y="95304"/>
                </a:lnTo>
                <a:lnTo>
                  <a:pt x="1245700" y="95304"/>
                </a:lnTo>
                <a:lnTo>
                  <a:pt x="1243124" y="74698"/>
                </a:lnTo>
                <a:lnTo>
                  <a:pt x="1227669" y="28334"/>
                </a:lnTo>
                <a:lnTo>
                  <a:pt x="1235397" y="25758"/>
                </a:lnTo>
                <a:lnTo>
                  <a:pt x="1315246" y="121061"/>
                </a:lnTo>
                <a:lnTo>
                  <a:pt x="1322973" y="115910"/>
                </a:lnTo>
                <a:lnTo>
                  <a:pt x="1222518" y="0"/>
                </a:lnTo>
                <a:lnTo>
                  <a:pt x="947005" y="88218"/>
                </a:lnTo>
                <a:lnTo>
                  <a:pt x="372512" y="27936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7994754" y="1461358"/>
            <a:ext cx="532334" cy="829749"/>
          </a:xfrm>
          <a:custGeom>
            <a:avLst/>
            <a:gdLst>
              <a:gd name="connsiteX0" fmla="*/ 57620 w 541125"/>
              <a:gd name="connsiteY0" fmla="*/ 40084 h 856781"/>
              <a:gd name="connsiteX1" fmla="*/ 45094 w 541125"/>
              <a:gd name="connsiteY1" fmla="*/ 125261 h 856781"/>
              <a:gd name="connsiteX2" fmla="*/ 25053 w 541125"/>
              <a:gd name="connsiteY2" fmla="*/ 195406 h 856781"/>
              <a:gd name="connsiteX3" fmla="*/ 32568 w 541125"/>
              <a:gd name="connsiteY3" fmla="*/ 255531 h 856781"/>
              <a:gd name="connsiteX4" fmla="*/ 35073 w 541125"/>
              <a:gd name="connsiteY4" fmla="*/ 333193 h 856781"/>
              <a:gd name="connsiteX5" fmla="*/ 37579 w 541125"/>
              <a:gd name="connsiteY5" fmla="*/ 393318 h 856781"/>
              <a:gd name="connsiteX6" fmla="*/ 15032 w 541125"/>
              <a:gd name="connsiteY6" fmla="*/ 428391 h 856781"/>
              <a:gd name="connsiteX7" fmla="*/ 27558 w 541125"/>
              <a:gd name="connsiteY7" fmla="*/ 460958 h 856781"/>
              <a:gd name="connsiteX8" fmla="*/ 0 w 541125"/>
              <a:gd name="connsiteY8" fmla="*/ 506052 h 856781"/>
              <a:gd name="connsiteX9" fmla="*/ 135282 w 541125"/>
              <a:gd name="connsiteY9" fmla="*/ 809182 h 856781"/>
              <a:gd name="connsiteX10" fmla="*/ 160334 w 541125"/>
              <a:gd name="connsiteY10" fmla="*/ 844255 h 856781"/>
              <a:gd name="connsiteX11" fmla="*/ 182880 w 541125"/>
              <a:gd name="connsiteY11" fmla="*/ 856781 h 856781"/>
              <a:gd name="connsiteX12" fmla="*/ 202922 w 541125"/>
              <a:gd name="connsiteY12" fmla="*/ 794151 h 856781"/>
              <a:gd name="connsiteX13" fmla="*/ 207933 w 541125"/>
              <a:gd name="connsiteY13" fmla="*/ 761583 h 856781"/>
              <a:gd name="connsiteX14" fmla="*/ 237995 w 541125"/>
              <a:gd name="connsiteY14" fmla="*/ 721500 h 856781"/>
              <a:gd name="connsiteX15" fmla="*/ 225469 w 541125"/>
              <a:gd name="connsiteY15" fmla="*/ 701458 h 856781"/>
              <a:gd name="connsiteX16" fmla="*/ 258037 w 541125"/>
              <a:gd name="connsiteY16" fmla="*/ 673901 h 856781"/>
              <a:gd name="connsiteX17" fmla="*/ 288099 w 541125"/>
              <a:gd name="connsiteY17" fmla="*/ 666385 h 856781"/>
              <a:gd name="connsiteX18" fmla="*/ 293110 w 541125"/>
              <a:gd name="connsiteY18" fmla="*/ 628807 h 856781"/>
              <a:gd name="connsiteX19" fmla="*/ 323172 w 541125"/>
              <a:gd name="connsiteY19" fmla="*/ 606260 h 856781"/>
              <a:gd name="connsiteX20" fmla="*/ 338203 w 541125"/>
              <a:gd name="connsiteY20" fmla="*/ 563672 h 856781"/>
              <a:gd name="connsiteX21" fmla="*/ 328182 w 541125"/>
              <a:gd name="connsiteY21" fmla="*/ 513568 h 856781"/>
              <a:gd name="connsiteX22" fmla="*/ 343214 w 541125"/>
              <a:gd name="connsiteY22" fmla="*/ 498536 h 856781"/>
              <a:gd name="connsiteX23" fmla="*/ 365760 w 541125"/>
              <a:gd name="connsiteY23" fmla="*/ 528599 h 856781"/>
              <a:gd name="connsiteX24" fmla="*/ 385802 w 541125"/>
              <a:gd name="connsiteY24" fmla="*/ 543630 h 856781"/>
              <a:gd name="connsiteX25" fmla="*/ 388307 w 541125"/>
              <a:gd name="connsiteY25" fmla="*/ 493526 h 856781"/>
              <a:gd name="connsiteX26" fmla="*/ 420875 w 541125"/>
              <a:gd name="connsiteY26" fmla="*/ 468474 h 856781"/>
              <a:gd name="connsiteX27" fmla="*/ 430896 w 541125"/>
              <a:gd name="connsiteY27" fmla="*/ 465969 h 856781"/>
              <a:gd name="connsiteX28" fmla="*/ 523588 w 541125"/>
              <a:gd name="connsiteY28" fmla="*/ 368266 h 856781"/>
              <a:gd name="connsiteX29" fmla="*/ 526094 w 541125"/>
              <a:gd name="connsiteY29" fmla="*/ 348224 h 856781"/>
              <a:gd name="connsiteX30" fmla="*/ 541125 w 541125"/>
              <a:gd name="connsiteY30" fmla="*/ 330688 h 856781"/>
              <a:gd name="connsiteX31" fmla="*/ 493526 w 541125"/>
              <a:gd name="connsiteY31" fmla="*/ 285594 h 856781"/>
              <a:gd name="connsiteX32" fmla="*/ 460958 w 541125"/>
              <a:gd name="connsiteY32" fmla="*/ 278078 h 856781"/>
              <a:gd name="connsiteX33" fmla="*/ 443422 w 541125"/>
              <a:gd name="connsiteY33" fmla="*/ 275573 h 856781"/>
              <a:gd name="connsiteX34" fmla="*/ 420875 w 541125"/>
              <a:gd name="connsiteY34" fmla="*/ 265552 h 856781"/>
              <a:gd name="connsiteX35" fmla="*/ 405844 w 541125"/>
              <a:gd name="connsiteY35" fmla="*/ 237995 h 856781"/>
              <a:gd name="connsiteX36" fmla="*/ 393318 w 541125"/>
              <a:gd name="connsiteY36" fmla="*/ 230479 h 856781"/>
              <a:gd name="connsiteX37" fmla="*/ 365760 w 541125"/>
              <a:gd name="connsiteY37" fmla="*/ 237995 h 856781"/>
              <a:gd name="connsiteX38" fmla="*/ 353234 w 541125"/>
              <a:gd name="connsiteY38" fmla="*/ 222964 h 856781"/>
              <a:gd name="connsiteX39" fmla="*/ 315656 w 541125"/>
              <a:gd name="connsiteY39" fmla="*/ 117745 h 856781"/>
              <a:gd name="connsiteX40" fmla="*/ 293110 w 541125"/>
              <a:gd name="connsiteY40" fmla="*/ 87683 h 856781"/>
              <a:gd name="connsiteX41" fmla="*/ 268057 w 541125"/>
              <a:gd name="connsiteY41" fmla="*/ 35073 h 856781"/>
              <a:gd name="connsiteX42" fmla="*/ 248016 w 541125"/>
              <a:gd name="connsiteY42" fmla="*/ 2506 h 856781"/>
              <a:gd name="connsiteX43" fmla="*/ 195407 w 541125"/>
              <a:gd name="connsiteY43" fmla="*/ 0 h 856781"/>
              <a:gd name="connsiteX44" fmla="*/ 165344 w 541125"/>
              <a:gd name="connsiteY44" fmla="*/ 20042 h 856781"/>
              <a:gd name="connsiteX45" fmla="*/ 147808 w 541125"/>
              <a:gd name="connsiteY45" fmla="*/ 42589 h 856781"/>
              <a:gd name="connsiteX46" fmla="*/ 120250 w 541125"/>
              <a:gd name="connsiteY46" fmla="*/ 62631 h 856781"/>
              <a:gd name="connsiteX47" fmla="*/ 107724 w 541125"/>
              <a:gd name="connsiteY47" fmla="*/ 70146 h 856781"/>
              <a:gd name="connsiteX48" fmla="*/ 57620 w 541125"/>
              <a:gd name="connsiteY48" fmla="*/ 40084 h 856781"/>
              <a:gd name="connsiteX0" fmla="*/ 67141 w 550646"/>
              <a:gd name="connsiteY0" fmla="*/ 40084 h 856781"/>
              <a:gd name="connsiteX1" fmla="*/ 54615 w 550646"/>
              <a:gd name="connsiteY1" fmla="*/ 125261 h 856781"/>
              <a:gd name="connsiteX2" fmla="*/ 34574 w 550646"/>
              <a:gd name="connsiteY2" fmla="*/ 195406 h 856781"/>
              <a:gd name="connsiteX3" fmla="*/ 42089 w 550646"/>
              <a:gd name="connsiteY3" fmla="*/ 255531 h 856781"/>
              <a:gd name="connsiteX4" fmla="*/ 44594 w 550646"/>
              <a:gd name="connsiteY4" fmla="*/ 333193 h 856781"/>
              <a:gd name="connsiteX5" fmla="*/ 47100 w 550646"/>
              <a:gd name="connsiteY5" fmla="*/ 393318 h 856781"/>
              <a:gd name="connsiteX6" fmla="*/ 24553 w 550646"/>
              <a:gd name="connsiteY6" fmla="*/ 428391 h 856781"/>
              <a:gd name="connsiteX7" fmla="*/ 37079 w 550646"/>
              <a:gd name="connsiteY7" fmla="*/ 460958 h 856781"/>
              <a:gd name="connsiteX8" fmla="*/ 0 w 550646"/>
              <a:gd name="connsiteY8" fmla="*/ 510821 h 856781"/>
              <a:gd name="connsiteX9" fmla="*/ 144803 w 550646"/>
              <a:gd name="connsiteY9" fmla="*/ 809182 h 856781"/>
              <a:gd name="connsiteX10" fmla="*/ 169855 w 550646"/>
              <a:gd name="connsiteY10" fmla="*/ 844255 h 856781"/>
              <a:gd name="connsiteX11" fmla="*/ 192401 w 550646"/>
              <a:gd name="connsiteY11" fmla="*/ 856781 h 856781"/>
              <a:gd name="connsiteX12" fmla="*/ 212443 w 550646"/>
              <a:gd name="connsiteY12" fmla="*/ 794151 h 856781"/>
              <a:gd name="connsiteX13" fmla="*/ 217454 w 550646"/>
              <a:gd name="connsiteY13" fmla="*/ 761583 h 856781"/>
              <a:gd name="connsiteX14" fmla="*/ 247516 w 550646"/>
              <a:gd name="connsiteY14" fmla="*/ 721500 h 856781"/>
              <a:gd name="connsiteX15" fmla="*/ 234990 w 550646"/>
              <a:gd name="connsiteY15" fmla="*/ 701458 h 856781"/>
              <a:gd name="connsiteX16" fmla="*/ 267558 w 550646"/>
              <a:gd name="connsiteY16" fmla="*/ 673901 h 856781"/>
              <a:gd name="connsiteX17" fmla="*/ 297620 w 550646"/>
              <a:gd name="connsiteY17" fmla="*/ 666385 h 856781"/>
              <a:gd name="connsiteX18" fmla="*/ 302631 w 550646"/>
              <a:gd name="connsiteY18" fmla="*/ 628807 h 856781"/>
              <a:gd name="connsiteX19" fmla="*/ 332693 w 550646"/>
              <a:gd name="connsiteY19" fmla="*/ 606260 h 856781"/>
              <a:gd name="connsiteX20" fmla="*/ 347724 w 550646"/>
              <a:gd name="connsiteY20" fmla="*/ 563672 h 856781"/>
              <a:gd name="connsiteX21" fmla="*/ 337703 w 550646"/>
              <a:gd name="connsiteY21" fmla="*/ 513568 h 856781"/>
              <a:gd name="connsiteX22" fmla="*/ 352735 w 550646"/>
              <a:gd name="connsiteY22" fmla="*/ 498536 h 856781"/>
              <a:gd name="connsiteX23" fmla="*/ 375281 w 550646"/>
              <a:gd name="connsiteY23" fmla="*/ 528599 h 856781"/>
              <a:gd name="connsiteX24" fmla="*/ 395323 w 550646"/>
              <a:gd name="connsiteY24" fmla="*/ 543630 h 856781"/>
              <a:gd name="connsiteX25" fmla="*/ 397828 w 550646"/>
              <a:gd name="connsiteY25" fmla="*/ 493526 h 856781"/>
              <a:gd name="connsiteX26" fmla="*/ 430396 w 550646"/>
              <a:gd name="connsiteY26" fmla="*/ 468474 h 856781"/>
              <a:gd name="connsiteX27" fmla="*/ 440417 w 550646"/>
              <a:gd name="connsiteY27" fmla="*/ 465969 h 856781"/>
              <a:gd name="connsiteX28" fmla="*/ 533109 w 550646"/>
              <a:gd name="connsiteY28" fmla="*/ 368266 h 856781"/>
              <a:gd name="connsiteX29" fmla="*/ 535615 w 550646"/>
              <a:gd name="connsiteY29" fmla="*/ 348224 h 856781"/>
              <a:gd name="connsiteX30" fmla="*/ 550646 w 550646"/>
              <a:gd name="connsiteY30" fmla="*/ 330688 h 856781"/>
              <a:gd name="connsiteX31" fmla="*/ 503047 w 550646"/>
              <a:gd name="connsiteY31" fmla="*/ 285594 h 856781"/>
              <a:gd name="connsiteX32" fmla="*/ 470479 w 550646"/>
              <a:gd name="connsiteY32" fmla="*/ 278078 h 856781"/>
              <a:gd name="connsiteX33" fmla="*/ 452943 w 550646"/>
              <a:gd name="connsiteY33" fmla="*/ 275573 h 856781"/>
              <a:gd name="connsiteX34" fmla="*/ 430396 w 550646"/>
              <a:gd name="connsiteY34" fmla="*/ 265552 h 856781"/>
              <a:gd name="connsiteX35" fmla="*/ 415365 w 550646"/>
              <a:gd name="connsiteY35" fmla="*/ 237995 h 856781"/>
              <a:gd name="connsiteX36" fmla="*/ 402839 w 550646"/>
              <a:gd name="connsiteY36" fmla="*/ 230479 h 856781"/>
              <a:gd name="connsiteX37" fmla="*/ 375281 w 550646"/>
              <a:gd name="connsiteY37" fmla="*/ 237995 h 856781"/>
              <a:gd name="connsiteX38" fmla="*/ 362755 w 550646"/>
              <a:gd name="connsiteY38" fmla="*/ 222964 h 856781"/>
              <a:gd name="connsiteX39" fmla="*/ 325177 w 550646"/>
              <a:gd name="connsiteY39" fmla="*/ 117745 h 856781"/>
              <a:gd name="connsiteX40" fmla="*/ 302631 w 550646"/>
              <a:gd name="connsiteY40" fmla="*/ 87683 h 856781"/>
              <a:gd name="connsiteX41" fmla="*/ 277578 w 550646"/>
              <a:gd name="connsiteY41" fmla="*/ 35073 h 856781"/>
              <a:gd name="connsiteX42" fmla="*/ 257537 w 550646"/>
              <a:gd name="connsiteY42" fmla="*/ 2506 h 856781"/>
              <a:gd name="connsiteX43" fmla="*/ 204928 w 550646"/>
              <a:gd name="connsiteY43" fmla="*/ 0 h 856781"/>
              <a:gd name="connsiteX44" fmla="*/ 174865 w 550646"/>
              <a:gd name="connsiteY44" fmla="*/ 20042 h 856781"/>
              <a:gd name="connsiteX45" fmla="*/ 157329 w 550646"/>
              <a:gd name="connsiteY45" fmla="*/ 42589 h 856781"/>
              <a:gd name="connsiteX46" fmla="*/ 129771 w 550646"/>
              <a:gd name="connsiteY46" fmla="*/ 62631 h 856781"/>
              <a:gd name="connsiteX47" fmla="*/ 117245 w 550646"/>
              <a:gd name="connsiteY47" fmla="*/ 70146 h 856781"/>
              <a:gd name="connsiteX48" fmla="*/ 67141 w 550646"/>
              <a:gd name="connsiteY48" fmla="*/ 40084 h 856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550646" h="856781">
                <a:moveTo>
                  <a:pt x="67141" y="40084"/>
                </a:moveTo>
                <a:lnTo>
                  <a:pt x="54615" y="125261"/>
                </a:lnTo>
                <a:lnTo>
                  <a:pt x="34574" y="195406"/>
                </a:lnTo>
                <a:lnTo>
                  <a:pt x="42089" y="255531"/>
                </a:lnTo>
                <a:lnTo>
                  <a:pt x="44594" y="333193"/>
                </a:lnTo>
                <a:lnTo>
                  <a:pt x="47100" y="393318"/>
                </a:lnTo>
                <a:lnTo>
                  <a:pt x="24553" y="428391"/>
                </a:lnTo>
                <a:lnTo>
                  <a:pt x="37079" y="460958"/>
                </a:lnTo>
                <a:lnTo>
                  <a:pt x="0" y="510821"/>
                </a:lnTo>
                <a:lnTo>
                  <a:pt x="144803" y="809182"/>
                </a:lnTo>
                <a:lnTo>
                  <a:pt x="169855" y="844255"/>
                </a:lnTo>
                <a:lnTo>
                  <a:pt x="192401" y="856781"/>
                </a:lnTo>
                <a:lnTo>
                  <a:pt x="212443" y="794151"/>
                </a:lnTo>
                <a:lnTo>
                  <a:pt x="217454" y="761583"/>
                </a:lnTo>
                <a:lnTo>
                  <a:pt x="247516" y="721500"/>
                </a:lnTo>
                <a:lnTo>
                  <a:pt x="234990" y="701458"/>
                </a:lnTo>
                <a:lnTo>
                  <a:pt x="267558" y="673901"/>
                </a:lnTo>
                <a:lnTo>
                  <a:pt x="297620" y="666385"/>
                </a:lnTo>
                <a:lnTo>
                  <a:pt x="302631" y="628807"/>
                </a:lnTo>
                <a:lnTo>
                  <a:pt x="332693" y="606260"/>
                </a:lnTo>
                <a:lnTo>
                  <a:pt x="347724" y="563672"/>
                </a:lnTo>
                <a:lnTo>
                  <a:pt x="337703" y="513568"/>
                </a:lnTo>
                <a:lnTo>
                  <a:pt x="352735" y="498536"/>
                </a:lnTo>
                <a:lnTo>
                  <a:pt x="375281" y="528599"/>
                </a:lnTo>
                <a:lnTo>
                  <a:pt x="395323" y="543630"/>
                </a:lnTo>
                <a:lnTo>
                  <a:pt x="397828" y="493526"/>
                </a:lnTo>
                <a:lnTo>
                  <a:pt x="430396" y="468474"/>
                </a:lnTo>
                <a:lnTo>
                  <a:pt x="440417" y="465969"/>
                </a:lnTo>
                <a:lnTo>
                  <a:pt x="533109" y="368266"/>
                </a:lnTo>
                <a:lnTo>
                  <a:pt x="535615" y="348224"/>
                </a:lnTo>
                <a:lnTo>
                  <a:pt x="550646" y="330688"/>
                </a:lnTo>
                <a:lnTo>
                  <a:pt x="503047" y="285594"/>
                </a:lnTo>
                <a:lnTo>
                  <a:pt x="470479" y="278078"/>
                </a:lnTo>
                <a:lnTo>
                  <a:pt x="452943" y="275573"/>
                </a:lnTo>
                <a:lnTo>
                  <a:pt x="430396" y="265552"/>
                </a:lnTo>
                <a:lnTo>
                  <a:pt x="415365" y="237995"/>
                </a:lnTo>
                <a:lnTo>
                  <a:pt x="402839" y="230479"/>
                </a:lnTo>
                <a:lnTo>
                  <a:pt x="375281" y="237995"/>
                </a:lnTo>
                <a:lnTo>
                  <a:pt x="362755" y="222964"/>
                </a:lnTo>
                <a:lnTo>
                  <a:pt x="325177" y="117745"/>
                </a:lnTo>
                <a:lnTo>
                  <a:pt x="302631" y="87683"/>
                </a:lnTo>
                <a:lnTo>
                  <a:pt x="277578" y="35073"/>
                </a:lnTo>
                <a:lnTo>
                  <a:pt x="257537" y="2506"/>
                </a:lnTo>
                <a:lnTo>
                  <a:pt x="204928" y="0"/>
                </a:lnTo>
                <a:lnTo>
                  <a:pt x="174865" y="20042"/>
                </a:lnTo>
                <a:lnTo>
                  <a:pt x="157329" y="42589"/>
                </a:lnTo>
                <a:lnTo>
                  <a:pt x="129771" y="62631"/>
                </a:lnTo>
                <a:lnTo>
                  <a:pt x="117245" y="70146"/>
                </a:lnTo>
                <a:lnTo>
                  <a:pt x="67141" y="4008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7942592" y="1953973"/>
            <a:ext cx="239321" cy="497233"/>
          </a:xfrm>
          <a:custGeom>
            <a:avLst/>
            <a:gdLst>
              <a:gd name="connsiteX0" fmla="*/ 45093 w 240499"/>
              <a:gd name="connsiteY0" fmla="*/ 0 h 498536"/>
              <a:gd name="connsiteX1" fmla="*/ 17536 w 240499"/>
              <a:gd name="connsiteY1" fmla="*/ 25052 h 498536"/>
              <a:gd name="connsiteX2" fmla="*/ 27557 w 240499"/>
              <a:gd name="connsiteY2" fmla="*/ 95198 h 498536"/>
              <a:gd name="connsiteX3" fmla="*/ 45093 w 240499"/>
              <a:gd name="connsiteY3" fmla="*/ 120250 h 498536"/>
              <a:gd name="connsiteX4" fmla="*/ 47599 w 240499"/>
              <a:gd name="connsiteY4" fmla="*/ 130271 h 498536"/>
              <a:gd name="connsiteX5" fmla="*/ 47599 w 240499"/>
              <a:gd name="connsiteY5" fmla="*/ 142797 h 498536"/>
              <a:gd name="connsiteX6" fmla="*/ 17536 w 240499"/>
              <a:gd name="connsiteY6" fmla="*/ 187891 h 498536"/>
              <a:gd name="connsiteX7" fmla="*/ 17536 w 240499"/>
              <a:gd name="connsiteY7" fmla="*/ 200417 h 498536"/>
              <a:gd name="connsiteX8" fmla="*/ 20041 w 240499"/>
              <a:gd name="connsiteY8" fmla="*/ 217953 h 498536"/>
              <a:gd name="connsiteX9" fmla="*/ 5010 w 240499"/>
              <a:gd name="connsiteY9" fmla="*/ 255531 h 498536"/>
              <a:gd name="connsiteX10" fmla="*/ 20041 w 240499"/>
              <a:gd name="connsiteY10" fmla="*/ 280583 h 498536"/>
              <a:gd name="connsiteX11" fmla="*/ 5010 w 240499"/>
              <a:gd name="connsiteY11" fmla="*/ 308140 h 498536"/>
              <a:gd name="connsiteX12" fmla="*/ 0 w 240499"/>
              <a:gd name="connsiteY12" fmla="*/ 338203 h 498536"/>
              <a:gd name="connsiteX13" fmla="*/ 25052 w 240499"/>
              <a:gd name="connsiteY13" fmla="*/ 413359 h 498536"/>
              <a:gd name="connsiteX14" fmla="*/ 35073 w 240499"/>
              <a:gd name="connsiteY14" fmla="*/ 438411 h 498536"/>
              <a:gd name="connsiteX15" fmla="*/ 30062 w 240499"/>
              <a:gd name="connsiteY15" fmla="*/ 470979 h 498536"/>
              <a:gd name="connsiteX16" fmla="*/ 47599 w 240499"/>
              <a:gd name="connsiteY16" fmla="*/ 498536 h 498536"/>
              <a:gd name="connsiteX17" fmla="*/ 175364 w 240499"/>
              <a:gd name="connsiteY17" fmla="*/ 453442 h 498536"/>
              <a:gd name="connsiteX18" fmla="*/ 210437 w 240499"/>
              <a:gd name="connsiteY18" fmla="*/ 433401 h 498536"/>
              <a:gd name="connsiteX19" fmla="*/ 240499 w 240499"/>
              <a:gd name="connsiteY19" fmla="*/ 388307 h 498536"/>
              <a:gd name="connsiteX20" fmla="*/ 232984 w 240499"/>
              <a:gd name="connsiteY20" fmla="*/ 348224 h 498536"/>
              <a:gd name="connsiteX21" fmla="*/ 197911 w 240499"/>
              <a:gd name="connsiteY21" fmla="*/ 310646 h 498536"/>
              <a:gd name="connsiteX22" fmla="*/ 187890 w 240499"/>
              <a:gd name="connsiteY22" fmla="*/ 280583 h 498536"/>
              <a:gd name="connsiteX23" fmla="*/ 45093 w 240499"/>
              <a:gd name="connsiteY23" fmla="*/ 0 h 498536"/>
              <a:gd name="connsiteX0" fmla="*/ 45093 w 240499"/>
              <a:gd name="connsiteY0" fmla="*/ 0 h 498536"/>
              <a:gd name="connsiteX1" fmla="*/ 17536 w 240499"/>
              <a:gd name="connsiteY1" fmla="*/ 25052 h 498536"/>
              <a:gd name="connsiteX2" fmla="*/ 27557 w 240499"/>
              <a:gd name="connsiteY2" fmla="*/ 95198 h 498536"/>
              <a:gd name="connsiteX3" fmla="*/ 45093 w 240499"/>
              <a:gd name="connsiteY3" fmla="*/ 120250 h 498536"/>
              <a:gd name="connsiteX4" fmla="*/ 47599 w 240499"/>
              <a:gd name="connsiteY4" fmla="*/ 130271 h 498536"/>
              <a:gd name="connsiteX5" fmla="*/ 47599 w 240499"/>
              <a:gd name="connsiteY5" fmla="*/ 142797 h 498536"/>
              <a:gd name="connsiteX6" fmla="*/ 17536 w 240499"/>
              <a:gd name="connsiteY6" fmla="*/ 187891 h 498536"/>
              <a:gd name="connsiteX7" fmla="*/ 17536 w 240499"/>
              <a:gd name="connsiteY7" fmla="*/ 200417 h 498536"/>
              <a:gd name="connsiteX8" fmla="*/ 20041 w 240499"/>
              <a:gd name="connsiteY8" fmla="*/ 217953 h 498536"/>
              <a:gd name="connsiteX9" fmla="*/ 5010 w 240499"/>
              <a:gd name="connsiteY9" fmla="*/ 255531 h 498536"/>
              <a:gd name="connsiteX10" fmla="*/ 20041 w 240499"/>
              <a:gd name="connsiteY10" fmla="*/ 280583 h 498536"/>
              <a:gd name="connsiteX11" fmla="*/ 5010 w 240499"/>
              <a:gd name="connsiteY11" fmla="*/ 308140 h 498536"/>
              <a:gd name="connsiteX12" fmla="*/ 0 w 240499"/>
              <a:gd name="connsiteY12" fmla="*/ 338203 h 498536"/>
              <a:gd name="connsiteX13" fmla="*/ 25052 w 240499"/>
              <a:gd name="connsiteY13" fmla="*/ 413359 h 498536"/>
              <a:gd name="connsiteX14" fmla="*/ 30062 w 240499"/>
              <a:gd name="connsiteY14" fmla="*/ 470979 h 498536"/>
              <a:gd name="connsiteX15" fmla="*/ 47599 w 240499"/>
              <a:gd name="connsiteY15" fmla="*/ 498536 h 498536"/>
              <a:gd name="connsiteX16" fmla="*/ 175364 w 240499"/>
              <a:gd name="connsiteY16" fmla="*/ 453442 h 498536"/>
              <a:gd name="connsiteX17" fmla="*/ 210437 w 240499"/>
              <a:gd name="connsiteY17" fmla="*/ 433401 h 498536"/>
              <a:gd name="connsiteX18" fmla="*/ 240499 w 240499"/>
              <a:gd name="connsiteY18" fmla="*/ 388307 h 498536"/>
              <a:gd name="connsiteX19" fmla="*/ 232984 w 240499"/>
              <a:gd name="connsiteY19" fmla="*/ 348224 h 498536"/>
              <a:gd name="connsiteX20" fmla="*/ 197911 w 240499"/>
              <a:gd name="connsiteY20" fmla="*/ 310646 h 498536"/>
              <a:gd name="connsiteX21" fmla="*/ 187890 w 240499"/>
              <a:gd name="connsiteY21" fmla="*/ 280583 h 498536"/>
              <a:gd name="connsiteX22" fmla="*/ 45093 w 240499"/>
              <a:gd name="connsiteY22" fmla="*/ 0 h 498536"/>
              <a:gd name="connsiteX0" fmla="*/ 52213 w 247619"/>
              <a:gd name="connsiteY0" fmla="*/ 0 h 498536"/>
              <a:gd name="connsiteX1" fmla="*/ 24656 w 247619"/>
              <a:gd name="connsiteY1" fmla="*/ 25052 h 498536"/>
              <a:gd name="connsiteX2" fmla="*/ 34677 w 247619"/>
              <a:gd name="connsiteY2" fmla="*/ 95198 h 498536"/>
              <a:gd name="connsiteX3" fmla="*/ 52213 w 247619"/>
              <a:gd name="connsiteY3" fmla="*/ 120250 h 498536"/>
              <a:gd name="connsiteX4" fmla="*/ 54719 w 247619"/>
              <a:gd name="connsiteY4" fmla="*/ 130271 h 498536"/>
              <a:gd name="connsiteX5" fmla="*/ 54719 w 247619"/>
              <a:gd name="connsiteY5" fmla="*/ 142797 h 498536"/>
              <a:gd name="connsiteX6" fmla="*/ 24656 w 247619"/>
              <a:gd name="connsiteY6" fmla="*/ 187891 h 498536"/>
              <a:gd name="connsiteX7" fmla="*/ 24656 w 247619"/>
              <a:gd name="connsiteY7" fmla="*/ 200417 h 498536"/>
              <a:gd name="connsiteX8" fmla="*/ 27161 w 247619"/>
              <a:gd name="connsiteY8" fmla="*/ 217953 h 498536"/>
              <a:gd name="connsiteX9" fmla="*/ 12130 w 247619"/>
              <a:gd name="connsiteY9" fmla="*/ 255531 h 498536"/>
              <a:gd name="connsiteX10" fmla="*/ 27161 w 247619"/>
              <a:gd name="connsiteY10" fmla="*/ 280583 h 498536"/>
              <a:gd name="connsiteX11" fmla="*/ 12130 w 247619"/>
              <a:gd name="connsiteY11" fmla="*/ 308140 h 498536"/>
              <a:gd name="connsiteX12" fmla="*/ 0 w 247619"/>
              <a:gd name="connsiteY12" fmla="*/ 340585 h 498536"/>
              <a:gd name="connsiteX13" fmla="*/ 32172 w 247619"/>
              <a:gd name="connsiteY13" fmla="*/ 413359 h 498536"/>
              <a:gd name="connsiteX14" fmla="*/ 37182 w 247619"/>
              <a:gd name="connsiteY14" fmla="*/ 470979 h 498536"/>
              <a:gd name="connsiteX15" fmla="*/ 54719 w 247619"/>
              <a:gd name="connsiteY15" fmla="*/ 498536 h 498536"/>
              <a:gd name="connsiteX16" fmla="*/ 182484 w 247619"/>
              <a:gd name="connsiteY16" fmla="*/ 453442 h 498536"/>
              <a:gd name="connsiteX17" fmla="*/ 217557 w 247619"/>
              <a:gd name="connsiteY17" fmla="*/ 433401 h 498536"/>
              <a:gd name="connsiteX18" fmla="*/ 247619 w 247619"/>
              <a:gd name="connsiteY18" fmla="*/ 388307 h 498536"/>
              <a:gd name="connsiteX19" fmla="*/ 240104 w 247619"/>
              <a:gd name="connsiteY19" fmla="*/ 348224 h 498536"/>
              <a:gd name="connsiteX20" fmla="*/ 205031 w 247619"/>
              <a:gd name="connsiteY20" fmla="*/ 310646 h 498536"/>
              <a:gd name="connsiteX21" fmla="*/ 195010 w 247619"/>
              <a:gd name="connsiteY21" fmla="*/ 280583 h 498536"/>
              <a:gd name="connsiteX22" fmla="*/ 52213 w 247619"/>
              <a:gd name="connsiteY22" fmla="*/ 0 h 498536"/>
              <a:gd name="connsiteX0" fmla="*/ 52213 w 247619"/>
              <a:gd name="connsiteY0" fmla="*/ 0 h 498536"/>
              <a:gd name="connsiteX1" fmla="*/ 24656 w 247619"/>
              <a:gd name="connsiteY1" fmla="*/ 25052 h 498536"/>
              <a:gd name="connsiteX2" fmla="*/ 34677 w 247619"/>
              <a:gd name="connsiteY2" fmla="*/ 95198 h 498536"/>
              <a:gd name="connsiteX3" fmla="*/ 52213 w 247619"/>
              <a:gd name="connsiteY3" fmla="*/ 120250 h 498536"/>
              <a:gd name="connsiteX4" fmla="*/ 54719 w 247619"/>
              <a:gd name="connsiteY4" fmla="*/ 130271 h 498536"/>
              <a:gd name="connsiteX5" fmla="*/ 54719 w 247619"/>
              <a:gd name="connsiteY5" fmla="*/ 142797 h 498536"/>
              <a:gd name="connsiteX6" fmla="*/ 24656 w 247619"/>
              <a:gd name="connsiteY6" fmla="*/ 187891 h 498536"/>
              <a:gd name="connsiteX7" fmla="*/ 24656 w 247619"/>
              <a:gd name="connsiteY7" fmla="*/ 200417 h 498536"/>
              <a:gd name="connsiteX8" fmla="*/ 27161 w 247619"/>
              <a:gd name="connsiteY8" fmla="*/ 217953 h 498536"/>
              <a:gd name="connsiteX9" fmla="*/ 12130 w 247619"/>
              <a:gd name="connsiteY9" fmla="*/ 255531 h 498536"/>
              <a:gd name="connsiteX10" fmla="*/ 27161 w 247619"/>
              <a:gd name="connsiteY10" fmla="*/ 280583 h 498536"/>
              <a:gd name="connsiteX11" fmla="*/ 12130 w 247619"/>
              <a:gd name="connsiteY11" fmla="*/ 308140 h 498536"/>
              <a:gd name="connsiteX12" fmla="*/ 0 w 247619"/>
              <a:gd name="connsiteY12" fmla="*/ 340585 h 498536"/>
              <a:gd name="connsiteX13" fmla="*/ 25053 w 247619"/>
              <a:gd name="connsiteY13" fmla="*/ 413359 h 498536"/>
              <a:gd name="connsiteX14" fmla="*/ 37182 w 247619"/>
              <a:gd name="connsiteY14" fmla="*/ 470979 h 498536"/>
              <a:gd name="connsiteX15" fmla="*/ 54719 w 247619"/>
              <a:gd name="connsiteY15" fmla="*/ 498536 h 498536"/>
              <a:gd name="connsiteX16" fmla="*/ 182484 w 247619"/>
              <a:gd name="connsiteY16" fmla="*/ 453442 h 498536"/>
              <a:gd name="connsiteX17" fmla="*/ 217557 w 247619"/>
              <a:gd name="connsiteY17" fmla="*/ 433401 h 498536"/>
              <a:gd name="connsiteX18" fmla="*/ 247619 w 247619"/>
              <a:gd name="connsiteY18" fmla="*/ 388307 h 498536"/>
              <a:gd name="connsiteX19" fmla="*/ 240104 w 247619"/>
              <a:gd name="connsiteY19" fmla="*/ 348224 h 498536"/>
              <a:gd name="connsiteX20" fmla="*/ 205031 w 247619"/>
              <a:gd name="connsiteY20" fmla="*/ 310646 h 498536"/>
              <a:gd name="connsiteX21" fmla="*/ 195010 w 247619"/>
              <a:gd name="connsiteY21" fmla="*/ 280583 h 498536"/>
              <a:gd name="connsiteX22" fmla="*/ 52213 w 247619"/>
              <a:gd name="connsiteY22" fmla="*/ 0 h 498536"/>
              <a:gd name="connsiteX0" fmla="*/ 52213 w 247619"/>
              <a:gd name="connsiteY0" fmla="*/ 0 h 512826"/>
              <a:gd name="connsiteX1" fmla="*/ 24656 w 247619"/>
              <a:gd name="connsiteY1" fmla="*/ 25052 h 512826"/>
              <a:gd name="connsiteX2" fmla="*/ 34677 w 247619"/>
              <a:gd name="connsiteY2" fmla="*/ 95198 h 512826"/>
              <a:gd name="connsiteX3" fmla="*/ 52213 w 247619"/>
              <a:gd name="connsiteY3" fmla="*/ 120250 h 512826"/>
              <a:gd name="connsiteX4" fmla="*/ 54719 w 247619"/>
              <a:gd name="connsiteY4" fmla="*/ 130271 h 512826"/>
              <a:gd name="connsiteX5" fmla="*/ 54719 w 247619"/>
              <a:gd name="connsiteY5" fmla="*/ 142797 h 512826"/>
              <a:gd name="connsiteX6" fmla="*/ 24656 w 247619"/>
              <a:gd name="connsiteY6" fmla="*/ 187891 h 512826"/>
              <a:gd name="connsiteX7" fmla="*/ 24656 w 247619"/>
              <a:gd name="connsiteY7" fmla="*/ 200417 h 512826"/>
              <a:gd name="connsiteX8" fmla="*/ 27161 w 247619"/>
              <a:gd name="connsiteY8" fmla="*/ 217953 h 512826"/>
              <a:gd name="connsiteX9" fmla="*/ 12130 w 247619"/>
              <a:gd name="connsiteY9" fmla="*/ 255531 h 512826"/>
              <a:gd name="connsiteX10" fmla="*/ 27161 w 247619"/>
              <a:gd name="connsiteY10" fmla="*/ 280583 h 512826"/>
              <a:gd name="connsiteX11" fmla="*/ 12130 w 247619"/>
              <a:gd name="connsiteY11" fmla="*/ 308140 h 512826"/>
              <a:gd name="connsiteX12" fmla="*/ 0 w 247619"/>
              <a:gd name="connsiteY12" fmla="*/ 340585 h 512826"/>
              <a:gd name="connsiteX13" fmla="*/ 25053 w 247619"/>
              <a:gd name="connsiteY13" fmla="*/ 413359 h 512826"/>
              <a:gd name="connsiteX14" fmla="*/ 37182 w 247619"/>
              <a:gd name="connsiteY14" fmla="*/ 470979 h 512826"/>
              <a:gd name="connsiteX15" fmla="*/ 54719 w 247619"/>
              <a:gd name="connsiteY15" fmla="*/ 512826 h 512826"/>
              <a:gd name="connsiteX16" fmla="*/ 182484 w 247619"/>
              <a:gd name="connsiteY16" fmla="*/ 453442 h 512826"/>
              <a:gd name="connsiteX17" fmla="*/ 217557 w 247619"/>
              <a:gd name="connsiteY17" fmla="*/ 433401 h 512826"/>
              <a:gd name="connsiteX18" fmla="*/ 247619 w 247619"/>
              <a:gd name="connsiteY18" fmla="*/ 388307 h 512826"/>
              <a:gd name="connsiteX19" fmla="*/ 240104 w 247619"/>
              <a:gd name="connsiteY19" fmla="*/ 348224 h 512826"/>
              <a:gd name="connsiteX20" fmla="*/ 205031 w 247619"/>
              <a:gd name="connsiteY20" fmla="*/ 310646 h 512826"/>
              <a:gd name="connsiteX21" fmla="*/ 195010 w 247619"/>
              <a:gd name="connsiteY21" fmla="*/ 280583 h 512826"/>
              <a:gd name="connsiteX22" fmla="*/ 52213 w 247619"/>
              <a:gd name="connsiteY22" fmla="*/ 0 h 512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47619" h="512826">
                <a:moveTo>
                  <a:pt x="52213" y="0"/>
                </a:moveTo>
                <a:lnTo>
                  <a:pt x="24656" y="25052"/>
                </a:lnTo>
                <a:lnTo>
                  <a:pt x="34677" y="95198"/>
                </a:lnTo>
                <a:lnTo>
                  <a:pt x="52213" y="120250"/>
                </a:lnTo>
                <a:lnTo>
                  <a:pt x="54719" y="130271"/>
                </a:lnTo>
                <a:lnTo>
                  <a:pt x="54719" y="142797"/>
                </a:lnTo>
                <a:lnTo>
                  <a:pt x="24656" y="187891"/>
                </a:lnTo>
                <a:lnTo>
                  <a:pt x="24656" y="200417"/>
                </a:lnTo>
                <a:lnTo>
                  <a:pt x="27161" y="217953"/>
                </a:lnTo>
                <a:lnTo>
                  <a:pt x="12130" y="255531"/>
                </a:lnTo>
                <a:lnTo>
                  <a:pt x="27161" y="280583"/>
                </a:lnTo>
                <a:lnTo>
                  <a:pt x="12130" y="308140"/>
                </a:lnTo>
                <a:lnTo>
                  <a:pt x="0" y="340585"/>
                </a:lnTo>
                <a:lnTo>
                  <a:pt x="25053" y="413359"/>
                </a:lnTo>
                <a:lnTo>
                  <a:pt x="37182" y="470979"/>
                </a:lnTo>
                <a:lnTo>
                  <a:pt x="54719" y="512826"/>
                </a:lnTo>
                <a:lnTo>
                  <a:pt x="182484" y="453442"/>
                </a:lnTo>
                <a:lnTo>
                  <a:pt x="217557" y="433401"/>
                </a:lnTo>
                <a:lnTo>
                  <a:pt x="247619" y="388307"/>
                </a:lnTo>
                <a:lnTo>
                  <a:pt x="240104" y="348224"/>
                </a:lnTo>
                <a:lnTo>
                  <a:pt x="205031" y="310646"/>
                </a:lnTo>
                <a:lnTo>
                  <a:pt x="195010" y="280583"/>
                </a:lnTo>
                <a:lnTo>
                  <a:pt x="52213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7733954" y="1995538"/>
            <a:ext cx="263866" cy="475683"/>
          </a:xfrm>
          <a:custGeom>
            <a:avLst/>
            <a:gdLst>
              <a:gd name="connsiteX0" fmla="*/ 0 w 273068"/>
              <a:gd name="connsiteY0" fmla="*/ 92692 h 491020"/>
              <a:gd name="connsiteX1" fmla="*/ 32568 w 273068"/>
              <a:gd name="connsiteY1" fmla="*/ 147807 h 491020"/>
              <a:gd name="connsiteX2" fmla="*/ 50105 w 273068"/>
              <a:gd name="connsiteY2" fmla="*/ 215447 h 491020"/>
              <a:gd name="connsiteX3" fmla="*/ 75157 w 273068"/>
              <a:gd name="connsiteY3" fmla="*/ 270562 h 491020"/>
              <a:gd name="connsiteX4" fmla="*/ 102714 w 273068"/>
              <a:gd name="connsiteY4" fmla="*/ 303130 h 491020"/>
              <a:gd name="connsiteX5" fmla="*/ 127766 w 273068"/>
              <a:gd name="connsiteY5" fmla="*/ 373275 h 491020"/>
              <a:gd name="connsiteX6" fmla="*/ 157828 w 273068"/>
              <a:gd name="connsiteY6" fmla="*/ 491020 h 491020"/>
              <a:gd name="connsiteX7" fmla="*/ 270563 w 273068"/>
              <a:gd name="connsiteY7" fmla="*/ 465968 h 491020"/>
              <a:gd name="connsiteX8" fmla="*/ 255531 w 273068"/>
              <a:gd name="connsiteY8" fmla="*/ 428390 h 491020"/>
              <a:gd name="connsiteX9" fmla="*/ 248016 w 273068"/>
              <a:gd name="connsiteY9" fmla="*/ 390812 h 491020"/>
              <a:gd name="connsiteX10" fmla="*/ 217953 w 273068"/>
              <a:gd name="connsiteY10" fmla="*/ 293109 h 491020"/>
              <a:gd name="connsiteX11" fmla="*/ 245511 w 273068"/>
              <a:gd name="connsiteY11" fmla="*/ 232984 h 491020"/>
              <a:gd name="connsiteX12" fmla="*/ 230479 w 273068"/>
              <a:gd name="connsiteY12" fmla="*/ 215447 h 491020"/>
              <a:gd name="connsiteX13" fmla="*/ 245511 w 273068"/>
              <a:gd name="connsiteY13" fmla="*/ 182880 h 491020"/>
              <a:gd name="connsiteX14" fmla="*/ 245511 w 273068"/>
              <a:gd name="connsiteY14" fmla="*/ 137786 h 491020"/>
              <a:gd name="connsiteX15" fmla="*/ 273068 w 273068"/>
              <a:gd name="connsiteY15" fmla="*/ 97703 h 491020"/>
              <a:gd name="connsiteX16" fmla="*/ 255531 w 273068"/>
              <a:gd name="connsiteY16" fmla="*/ 60125 h 491020"/>
              <a:gd name="connsiteX17" fmla="*/ 245511 w 273068"/>
              <a:gd name="connsiteY17" fmla="*/ 0 h 491020"/>
              <a:gd name="connsiteX18" fmla="*/ 205427 w 273068"/>
              <a:gd name="connsiteY18" fmla="*/ 17536 h 491020"/>
              <a:gd name="connsiteX19" fmla="*/ 0 w 273068"/>
              <a:gd name="connsiteY19" fmla="*/ 92692 h 491020"/>
              <a:gd name="connsiteX0" fmla="*/ 0 w 273068"/>
              <a:gd name="connsiteY0" fmla="*/ 92692 h 491020"/>
              <a:gd name="connsiteX1" fmla="*/ 50105 w 273068"/>
              <a:gd name="connsiteY1" fmla="*/ 215447 h 491020"/>
              <a:gd name="connsiteX2" fmla="*/ 75157 w 273068"/>
              <a:gd name="connsiteY2" fmla="*/ 270562 h 491020"/>
              <a:gd name="connsiteX3" fmla="*/ 102714 w 273068"/>
              <a:gd name="connsiteY3" fmla="*/ 303130 h 491020"/>
              <a:gd name="connsiteX4" fmla="*/ 127766 w 273068"/>
              <a:gd name="connsiteY4" fmla="*/ 373275 h 491020"/>
              <a:gd name="connsiteX5" fmla="*/ 157828 w 273068"/>
              <a:gd name="connsiteY5" fmla="*/ 491020 h 491020"/>
              <a:gd name="connsiteX6" fmla="*/ 270563 w 273068"/>
              <a:gd name="connsiteY6" fmla="*/ 465968 h 491020"/>
              <a:gd name="connsiteX7" fmla="*/ 255531 w 273068"/>
              <a:gd name="connsiteY7" fmla="*/ 428390 h 491020"/>
              <a:gd name="connsiteX8" fmla="*/ 248016 w 273068"/>
              <a:gd name="connsiteY8" fmla="*/ 390812 h 491020"/>
              <a:gd name="connsiteX9" fmla="*/ 217953 w 273068"/>
              <a:gd name="connsiteY9" fmla="*/ 293109 h 491020"/>
              <a:gd name="connsiteX10" fmla="*/ 245511 w 273068"/>
              <a:gd name="connsiteY10" fmla="*/ 232984 h 491020"/>
              <a:gd name="connsiteX11" fmla="*/ 230479 w 273068"/>
              <a:gd name="connsiteY11" fmla="*/ 215447 h 491020"/>
              <a:gd name="connsiteX12" fmla="*/ 245511 w 273068"/>
              <a:gd name="connsiteY12" fmla="*/ 182880 h 491020"/>
              <a:gd name="connsiteX13" fmla="*/ 245511 w 273068"/>
              <a:gd name="connsiteY13" fmla="*/ 137786 h 491020"/>
              <a:gd name="connsiteX14" fmla="*/ 273068 w 273068"/>
              <a:gd name="connsiteY14" fmla="*/ 97703 h 491020"/>
              <a:gd name="connsiteX15" fmla="*/ 255531 w 273068"/>
              <a:gd name="connsiteY15" fmla="*/ 60125 h 491020"/>
              <a:gd name="connsiteX16" fmla="*/ 245511 w 273068"/>
              <a:gd name="connsiteY16" fmla="*/ 0 h 491020"/>
              <a:gd name="connsiteX17" fmla="*/ 205427 w 273068"/>
              <a:gd name="connsiteY17" fmla="*/ 17536 h 491020"/>
              <a:gd name="connsiteX18" fmla="*/ 0 w 273068"/>
              <a:gd name="connsiteY18" fmla="*/ 92692 h 491020"/>
              <a:gd name="connsiteX0" fmla="*/ 0 w 273068"/>
              <a:gd name="connsiteY0" fmla="*/ 92692 h 491020"/>
              <a:gd name="connsiteX1" fmla="*/ 50105 w 273068"/>
              <a:gd name="connsiteY1" fmla="*/ 215447 h 491020"/>
              <a:gd name="connsiteX2" fmla="*/ 65631 w 273068"/>
              <a:gd name="connsiteY2" fmla="*/ 268177 h 491020"/>
              <a:gd name="connsiteX3" fmla="*/ 102714 w 273068"/>
              <a:gd name="connsiteY3" fmla="*/ 303130 h 491020"/>
              <a:gd name="connsiteX4" fmla="*/ 127766 w 273068"/>
              <a:gd name="connsiteY4" fmla="*/ 373275 h 491020"/>
              <a:gd name="connsiteX5" fmla="*/ 157828 w 273068"/>
              <a:gd name="connsiteY5" fmla="*/ 491020 h 491020"/>
              <a:gd name="connsiteX6" fmla="*/ 270563 w 273068"/>
              <a:gd name="connsiteY6" fmla="*/ 465968 h 491020"/>
              <a:gd name="connsiteX7" fmla="*/ 255531 w 273068"/>
              <a:gd name="connsiteY7" fmla="*/ 428390 h 491020"/>
              <a:gd name="connsiteX8" fmla="*/ 248016 w 273068"/>
              <a:gd name="connsiteY8" fmla="*/ 390812 h 491020"/>
              <a:gd name="connsiteX9" fmla="*/ 217953 w 273068"/>
              <a:gd name="connsiteY9" fmla="*/ 293109 h 491020"/>
              <a:gd name="connsiteX10" fmla="*/ 245511 w 273068"/>
              <a:gd name="connsiteY10" fmla="*/ 232984 h 491020"/>
              <a:gd name="connsiteX11" fmla="*/ 230479 w 273068"/>
              <a:gd name="connsiteY11" fmla="*/ 215447 h 491020"/>
              <a:gd name="connsiteX12" fmla="*/ 245511 w 273068"/>
              <a:gd name="connsiteY12" fmla="*/ 182880 h 491020"/>
              <a:gd name="connsiteX13" fmla="*/ 245511 w 273068"/>
              <a:gd name="connsiteY13" fmla="*/ 137786 h 491020"/>
              <a:gd name="connsiteX14" fmla="*/ 273068 w 273068"/>
              <a:gd name="connsiteY14" fmla="*/ 97703 h 491020"/>
              <a:gd name="connsiteX15" fmla="*/ 255531 w 273068"/>
              <a:gd name="connsiteY15" fmla="*/ 60125 h 491020"/>
              <a:gd name="connsiteX16" fmla="*/ 245511 w 273068"/>
              <a:gd name="connsiteY16" fmla="*/ 0 h 491020"/>
              <a:gd name="connsiteX17" fmla="*/ 205427 w 273068"/>
              <a:gd name="connsiteY17" fmla="*/ 17536 h 491020"/>
              <a:gd name="connsiteX18" fmla="*/ 0 w 273068"/>
              <a:gd name="connsiteY18" fmla="*/ 92692 h 491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73068" h="491020">
                <a:moveTo>
                  <a:pt x="0" y="92692"/>
                </a:moveTo>
                <a:lnTo>
                  <a:pt x="50105" y="215447"/>
                </a:lnTo>
                <a:lnTo>
                  <a:pt x="65631" y="268177"/>
                </a:lnTo>
                <a:lnTo>
                  <a:pt x="102714" y="303130"/>
                </a:lnTo>
                <a:lnTo>
                  <a:pt x="127766" y="373275"/>
                </a:lnTo>
                <a:lnTo>
                  <a:pt x="157828" y="491020"/>
                </a:lnTo>
                <a:lnTo>
                  <a:pt x="270563" y="465968"/>
                </a:lnTo>
                <a:lnTo>
                  <a:pt x="255531" y="428390"/>
                </a:lnTo>
                <a:lnTo>
                  <a:pt x="248016" y="390812"/>
                </a:lnTo>
                <a:lnTo>
                  <a:pt x="217953" y="293109"/>
                </a:lnTo>
                <a:lnTo>
                  <a:pt x="245511" y="232984"/>
                </a:lnTo>
                <a:lnTo>
                  <a:pt x="230479" y="215447"/>
                </a:lnTo>
                <a:lnTo>
                  <a:pt x="245511" y="182880"/>
                </a:lnTo>
                <a:lnTo>
                  <a:pt x="245511" y="137786"/>
                </a:lnTo>
                <a:lnTo>
                  <a:pt x="273068" y="97703"/>
                </a:lnTo>
                <a:lnTo>
                  <a:pt x="255531" y="60125"/>
                </a:lnTo>
                <a:lnTo>
                  <a:pt x="245511" y="0"/>
                </a:lnTo>
                <a:lnTo>
                  <a:pt x="205427" y="17536"/>
                </a:lnTo>
                <a:lnTo>
                  <a:pt x="0" y="9269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7888901" y="2332671"/>
            <a:ext cx="504719" cy="281714"/>
          </a:xfrm>
          <a:custGeom>
            <a:avLst/>
            <a:gdLst>
              <a:gd name="connsiteX0" fmla="*/ 0 w 523588"/>
              <a:gd name="connsiteY0" fmla="*/ 137787 h 290604"/>
              <a:gd name="connsiteX1" fmla="*/ 5010 w 523588"/>
              <a:gd name="connsiteY1" fmla="*/ 217953 h 290604"/>
              <a:gd name="connsiteX2" fmla="*/ 17536 w 523588"/>
              <a:gd name="connsiteY2" fmla="*/ 250521 h 290604"/>
              <a:gd name="connsiteX3" fmla="*/ 20041 w 523588"/>
              <a:gd name="connsiteY3" fmla="*/ 290604 h 290604"/>
              <a:gd name="connsiteX4" fmla="*/ 303129 w 523588"/>
              <a:gd name="connsiteY4" fmla="*/ 170354 h 290604"/>
              <a:gd name="connsiteX5" fmla="*/ 360749 w 523588"/>
              <a:gd name="connsiteY5" fmla="*/ 237995 h 290604"/>
              <a:gd name="connsiteX6" fmla="*/ 383296 w 523588"/>
              <a:gd name="connsiteY6" fmla="*/ 253026 h 290604"/>
              <a:gd name="connsiteX7" fmla="*/ 383296 w 523588"/>
              <a:gd name="connsiteY7" fmla="*/ 253026 h 290604"/>
              <a:gd name="connsiteX8" fmla="*/ 403338 w 523588"/>
              <a:gd name="connsiteY8" fmla="*/ 210437 h 290604"/>
              <a:gd name="connsiteX9" fmla="*/ 408348 w 523588"/>
              <a:gd name="connsiteY9" fmla="*/ 190396 h 290604"/>
              <a:gd name="connsiteX10" fmla="*/ 428390 w 523588"/>
              <a:gd name="connsiteY10" fmla="*/ 195406 h 290604"/>
              <a:gd name="connsiteX11" fmla="*/ 455947 w 523588"/>
              <a:gd name="connsiteY11" fmla="*/ 202922 h 290604"/>
              <a:gd name="connsiteX12" fmla="*/ 470978 w 523588"/>
              <a:gd name="connsiteY12" fmla="*/ 190396 h 290604"/>
              <a:gd name="connsiteX13" fmla="*/ 478494 w 523588"/>
              <a:gd name="connsiteY13" fmla="*/ 177870 h 290604"/>
              <a:gd name="connsiteX14" fmla="*/ 523588 w 523588"/>
              <a:gd name="connsiteY14" fmla="*/ 140292 h 290604"/>
              <a:gd name="connsiteX15" fmla="*/ 523588 w 523588"/>
              <a:gd name="connsiteY15" fmla="*/ 115240 h 290604"/>
              <a:gd name="connsiteX16" fmla="*/ 503546 w 523588"/>
              <a:gd name="connsiteY16" fmla="*/ 97703 h 290604"/>
              <a:gd name="connsiteX17" fmla="*/ 478494 w 523588"/>
              <a:gd name="connsiteY17" fmla="*/ 87682 h 290604"/>
              <a:gd name="connsiteX18" fmla="*/ 455947 w 523588"/>
              <a:gd name="connsiteY18" fmla="*/ 87682 h 290604"/>
              <a:gd name="connsiteX19" fmla="*/ 465968 w 523588"/>
              <a:gd name="connsiteY19" fmla="*/ 102714 h 290604"/>
              <a:gd name="connsiteX20" fmla="*/ 480999 w 523588"/>
              <a:gd name="connsiteY20" fmla="*/ 120250 h 290604"/>
              <a:gd name="connsiteX21" fmla="*/ 488515 w 523588"/>
              <a:gd name="connsiteY21" fmla="*/ 130271 h 290604"/>
              <a:gd name="connsiteX22" fmla="*/ 478494 w 523588"/>
              <a:gd name="connsiteY22" fmla="*/ 162839 h 290604"/>
              <a:gd name="connsiteX23" fmla="*/ 445926 w 523588"/>
              <a:gd name="connsiteY23" fmla="*/ 170354 h 290604"/>
              <a:gd name="connsiteX24" fmla="*/ 425885 w 523588"/>
              <a:gd name="connsiteY24" fmla="*/ 160333 h 290604"/>
              <a:gd name="connsiteX25" fmla="*/ 408348 w 523588"/>
              <a:gd name="connsiteY25" fmla="*/ 137787 h 290604"/>
              <a:gd name="connsiteX26" fmla="*/ 395822 w 523588"/>
              <a:gd name="connsiteY26" fmla="*/ 117745 h 290604"/>
              <a:gd name="connsiteX27" fmla="*/ 340708 w 523588"/>
              <a:gd name="connsiteY27" fmla="*/ 75156 h 290604"/>
              <a:gd name="connsiteX28" fmla="*/ 343213 w 523588"/>
              <a:gd name="connsiteY28" fmla="*/ 45094 h 290604"/>
              <a:gd name="connsiteX29" fmla="*/ 335697 w 523588"/>
              <a:gd name="connsiteY29" fmla="*/ 22547 h 290604"/>
              <a:gd name="connsiteX30" fmla="*/ 303129 w 523588"/>
              <a:gd name="connsiteY30" fmla="*/ 0 h 290604"/>
              <a:gd name="connsiteX31" fmla="*/ 270562 w 523588"/>
              <a:gd name="connsiteY31" fmla="*/ 37578 h 290604"/>
              <a:gd name="connsiteX32" fmla="*/ 250520 w 523588"/>
              <a:gd name="connsiteY32" fmla="*/ 62630 h 290604"/>
              <a:gd name="connsiteX33" fmla="*/ 115239 w 523588"/>
              <a:gd name="connsiteY33" fmla="*/ 110229 h 290604"/>
              <a:gd name="connsiteX34" fmla="*/ 115239 w 523588"/>
              <a:gd name="connsiteY34" fmla="*/ 122755 h 290604"/>
              <a:gd name="connsiteX35" fmla="*/ 0 w 523588"/>
              <a:gd name="connsiteY35" fmla="*/ 137787 h 290604"/>
              <a:gd name="connsiteX0" fmla="*/ 0 w 523588"/>
              <a:gd name="connsiteY0" fmla="*/ 137787 h 290604"/>
              <a:gd name="connsiteX1" fmla="*/ 5010 w 523588"/>
              <a:gd name="connsiteY1" fmla="*/ 217953 h 290604"/>
              <a:gd name="connsiteX2" fmla="*/ 17536 w 523588"/>
              <a:gd name="connsiteY2" fmla="*/ 250521 h 290604"/>
              <a:gd name="connsiteX3" fmla="*/ 20041 w 523588"/>
              <a:gd name="connsiteY3" fmla="*/ 290604 h 290604"/>
              <a:gd name="connsiteX4" fmla="*/ 303129 w 523588"/>
              <a:gd name="connsiteY4" fmla="*/ 170354 h 290604"/>
              <a:gd name="connsiteX5" fmla="*/ 360749 w 523588"/>
              <a:gd name="connsiteY5" fmla="*/ 237995 h 290604"/>
              <a:gd name="connsiteX6" fmla="*/ 383296 w 523588"/>
              <a:gd name="connsiteY6" fmla="*/ 253026 h 290604"/>
              <a:gd name="connsiteX7" fmla="*/ 383296 w 523588"/>
              <a:gd name="connsiteY7" fmla="*/ 253026 h 290604"/>
              <a:gd name="connsiteX8" fmla="*/ 403338 w 523588"/>
              <a:gd name="connsiteY8" fmla="*/ 210437 h 290604"/>
              <a:gd name="connsiteX9" fmla="*/ 408348 w 523588"/>
              <a:gd name="connsiteY9" fmla="*/ 190396 h 290604"/>
              <a:gd name="connsiteX10" fmla="*/ 428390 w 523588"/>
              <a:gd name="connsiteY10" fmla="*/ 195406 h 290604"/>
              <a:gd name="connsiteX11" fmla="*/ 455947 w 523588"/>
              <a:gd name="connsiteY11" fmla="*/ 202922 h 290604"/>
              <a:gd name="connsiteX12" fmla="*/ 470978 w 523588"/>
              <a:gd name="connsiteY12" fmla="*/ 190396 h 290604"/>
              <a:gd name="connsiteX13" fmla="*/ 478494 w 523588"/>
              <a:gd name="connsiteY13" fmla="*/ 177870 h 290604"/>
              <a:gd name="connsiteX14" fmla="*/ 523588 w 523588"/>
              <a:gd name="connsiteY14" fmla="*/ 140292 h 290604"/>
              <a:gd name="connsiteX15" fmla="*/ 523588 w 523588"/>
              <a:gd name="connsiteY15" fmla="*/ 115240 h 290604"/>
              <a:gd name="connsiteX16" fmla="*/ 503546 w 523588"/>
              <a:gd name="connsiteY16" fmla="*/ 97703 h 290604"/>
              <a:gd name="connsiteX17" fmla="*/ 478494 w 523588"/>
              <a:gd name="connsiteY17" fmla="*/ 87682 h 290604"/>
              <a:gd name="connsiteX18" fmla="*/ 455947 w 523588"/>
              <a:gd name="connsiteY18" fmla="*/ 87682 h 290604"/>
              <a:gd name="connsiteX19" fmla="*/ 465968 w 523588"/>
              <a:gd name="connsiteY19" fmla="*/ 102714 h 290604"/>
              <a:gd name="connsiteX20" fmla="*/ 480999 w 523588"/>
              <a:gd name="connsiteY20" fmla="*/ 120250 h 290604"/>
              <a:gd name="connsiteX21" fmla="*/ 488515 w 523588"/>
              <a:gd name="connsiteY21" fmla="*/ 130271 h 290604"/>
              <a:gd name="connsiteX22" fmla="*/ 478494 w 523588"/>
              <a:gd name="connsiteY22" fmla="*/ 162839 h 290604"/>
              <a:gd name="connsiteX23" fmla="*/ 445926 w 523588"/>
              <a:gd name="connsiteY23" fmla="*/ 170354 h 290604"/>
              <a:gd name="connsiteX24" fmla="*/ 425885 w 523588"/>
              <a:gd name="connsiteY24" fmla="*/ 160333 h 290604"/>
              <a:gd name="connsiteX25" fmla="*/ 408348 w 523588"/>
              <a:gd name="connsiteY25" fmla="*/ 137787 h 290604"/>
              <a:gd name="connsiteX26" fmla="*/ 395822 w 523588"/>
              <a:gd name="connsiteY26" fmla="*/ 117745 h 290604"/>
              <a:gd name="connsiteX27" fmla="*/ 340708 w 523588"/>
              <a:gd name="connsiteY27" fmla="*/ 75156 h 290604"/>
              <a:gd name="connsiteX28" fmla="*/ 343213 w 523588"/>
              <a:gd name="connsiteY28" fmla="*/ 45094 h 290604"/>
              <a:gd name="connsiteX29" fmla="*/ 335697 w 523588"/>
              <a:gd name="connsiteY29" fmla="*/ 22547 h 290604"/>
              <a:gd name="connsiteX30" fmla="*/ 303129 w 523588"/>
              <a:gd name="connsiteY30" fmla="*/ 0 h 290604"/>
              <a:gd name="connsiteX31" fmla="*/ 270562 w 523588"/>
              <a:gd name="connsiteY31" fmla="*/ 37578 h 290604"/>
              <a:gd name="connsiteX32" fmla="*/ 115239 w 523588"/>
              <a:gd name="connsiteY32" fmla="*/ 110229 h 290604"/>
              <a:gd name="connsiteX33" fmla="*/ 115239 w 523588"/>
              <a:gd name="connsiteY33" fmla="*/ 122755 h 290604"/>
              <a:gd name="connsiteX34" fmla="*/ 0 w 523588"/>
              <a:gd name="connsiteY34" fmla="*/ 137787 h 290604"/>
              <a:gd name="connsiteX0" fmla="*/ 0 w 523588"/>
              <a:gd name="connsiteY0" fmla="*/ 137787 h 290604"/>
              <a:gd name="connsiteX1" fmla="*/ 5010 w 523588"/>
              <a:gd name="connsiteY1" fmla="*/ 217953 h 290604"/>
              <a:gd name="connsiteX2" fmla="*/ 17536 w 523588"/>
              <a:gd name="connsiteY2" fmla="*/ 250521 h 290604"/>
              <a:gd name="connsiteX3" fmla="*/ 20041 w 523588"/>
              <a:gd name="connsiteY3" fmla="*/ 290604 h 290604"/>
              <a:gd name="connsiteX4" fmla="*/ 303129 w 523588"/>
              <a:gd name="connsiteY4" fmla="*/ 170354 h 290604"/>
              <a:gd name="connsiteX5" fmla="*/ 360749 w 523588"/>
              <a:gd name="connsiteY5" fmla="*/ 237995 h 290604"/>
              <a:gd name="connsiteX6" fmla="*/ 383296 w 523588"/>
              <a:gd name="connsiteY6" fmla="*/ 253026 h 290604"/>
              <a:gd name="connsiteX7" fmla="*/ 383296 w 523588"/>
              <a:gd name="connsiteY7" fmla="*/ 253026 h 290604"/>
              <a:gd name="connsiteX8" fmla="*/ 403338 w 523588"/>
              <a:gd name="connsiteY8" fmla="*/ 210437 h 290604"/>
              <a:gd name="connsiteX9" fmla="*/ 408348 w 523588"/>
              <a:gd name="connsiteY9" fmla="*/ 190396 h 290604"/>
              <a:gd name="connsiteX10" fmla="*/ 428390 w 523588"/>
              <a:gd name="connsiteY10" fmla="*/ 195406 h 290604"/>
              <a:gd name="connsiteX11" fmla="*/ 455947 w 523588"/>
              <a:gd name="connsiteY11" fmla="*/ 202922 h 290604"/>
              <a:gd name="connsiteX12" fmla="*/ 470978 w 523588"/>
              <a:gd name="connsiteY12" fmla="*/ 190396 h 290604"/>
              <a:gd name="connsiteX13" fmla="*/ 478494 w 523588"/>
              <a:gd name="connsiteY13" fmla="*/ 177870 h 290604"/>
              <a:gd name="connsiteX14" fmla="*/ 523588 w 523588"/>
              <a:gd name="connsiteY14" fmla="*/ 140292 h 290604"/>
              <a:gd name="connsiteX15" fmla="*/ 523588 w 523588"/>
              <a:gd name="connsiteY15" fmla="*/ 115240 h 290604"/>
              <a:gd name="connsiteX16" fmla="*/ 503546 w 523588"/>
              <a:gd name="connsiteY16" fmla="*/ 97703 h 290604"/>
              <a:gd name="connsiteX17" fmla="*/ 478494 w 523588"/>
              <a:gd name="connsiteY17" fmla="*/ 87682 h 290604"/>
              <a:gd name="connsiteX18" fmla="*/ 455947 w 523588"/>
              <a:gd name="connsiteY18" fmla="*/ 87682 h 290604"/>
              <a:gd name="connsiteX19" fmla="*/ 465968 w 523588"/>
              <a:gd name="connsiteY19" fmla="*/ 102714 h 290604"/>
              <a:gd name="connsiteX20" fmla="*/ 480999 w 523588"/>
              <a:gd name="connsiteY20" fmla="*/ 120250 h 290604"/>
              <a:gd name="connsiteX21" fmla="*/ 488515 w 523588"/>
              <a:gd name="connsiteY21" fmla="*/ 130271 h 290604"/>
              <a:gd name="connsiteX22" fmla="*/ 478494 w 523588"/>
              <a:gd name="connsiteY22" fmla="*/ 162839 h 290604"/>
              <a:gd name="connsiteX23" fmla="*/ 445926 w 523588"/>
              <a:gd name="connsiteY23" fmla="*/ 170354 h 290604"/>
              <a:gd name="connsiteX24" fmla="*/ 425885 w 523588"/>
              <a:gd name="connsiteY24" fmla="*/ 160333 h 290604"/>
              <a:gd name="connsiteX25" fmla="*/ 408348 w 523588"/>
              <a:gd name="connsiteY25" fmla="*/ 137787 h 290604"/>
              <a:gd name="connsiteX26" fmla="*/ 395822 w 523588"/>
              <a:gd name="connsiteY26" fmla="*/ 117745 h 290604"/>
              <a:gd name="connsiteX27" fmla="*/ 340708 w 523588"/>
              <a:gd name="connsiteY27" fmla="*/ 75156 h 290604"/>
              <a:gd name="connsiteX28" fmla="*/ 343213 w 523588"/>
              <a:gd name="connsiteY28" fmla="*/ 45094 h 290604"/>
              <a:gd name="connsiteX29" fmla="*/ 335697 w 523588"/>
              <a:gd name="connsiteY29" fmla="*/ 22547 h 290604"/>
              <a:gd name="connsiteX30" fmla="*/ 303129 w 523588"/>
              <a:gd name="connsiteY30" fmla="*/ 0 h 290604"/>
              <a:gd name="connsiteX31" fmla="*/ 270562 w 523588"/>
              <a:gd name="connsiteY31" fmla="*/ 37578 h 290604"/>
              <a:gd name="connsiteX32" fmla="*/ 115239 w 523588"/>
              <a:gd name="connsiteY32" fmla="*/ 110229 h 290604"/>
              <a:gd name="connsiteX33" fmla="*/ 98529 w 523588"/>
              <a:gd name="connsiteY33" fmla="*/ 117990 h 290604"/>
              <a:gd name="connsiteX34" fmla="*/ 0 w 523588"/>
              <a:gd name="connsiteY34" fmla="*/ 137787 h 290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3588" h="290604">
                <a:moveTo>
                  <a:pt x="0" y="137787"/>
                </a:moveTo>
                <a:lnTo>
                  <a:pt x="5010" y="217953"/>
                </a:lnTo>
                <a:lnTo>
                  <a:pt x="17536" y="250521"/>
                </a:lnTo>
                <a:lnTo>
                  <a:pt x="20041" y="290604"/>
                </a:lnTo>
                <a:lnTo>
                  <a:pt x="303129" y="170354"/>
                </a:lnTo>
                <a:lnTo>
                  <a:pt x="360749" y="237995"/>
                </a:lnTo>
                <a:lnTo>
                  <a:pt x="383296" y="253026"/>
                </a:lnTo>
                <a:lnTo>
                  <a:pt x="383296" y="253026"/>
                </a:lnTo>
                <a:lnTo>
                  <a:pt x="403338" y="210437"/>
                </a:lnTo>
                <a:lnTo>
                  <a:pt x="408348" y="190396"/>
                </a:lnTo>
                <a:lnTo>
                  <a:pt x="428390" y="195406"/>
                </a:lnTo>
                <a:lnTo>
                  <a:pt x="455947" y="202922"/>
                </a:lnTo>
                <a:lnTo>
                  <a:pt x="470978" y="190396"/>
                </a:lnTo>
                <a:lnTo>
                  <a:pt x="478494" y="177870"/>
                </a:lnTo>
                <a:lnTo>
                  <a:pt x="523588" y="140292"/>
                </a:lnTo>
                <a:lnTo>
                  <a:pt x="523588" y="115240"/>
                </a:lnTo>
                <a:lnTo>
                  <a:pt x="503546" y="97703"/>
                </a:lnTo>
                <a:lnTo>
                  <a:pt x="478494" y="87682"/>
                </a:lnTo>
                <a:lnTo>
                  <a:pt x="455947" y="87682"/>
                </a:lnTo>
                <a:lnTo>
                  <a:pt x="465968" y="102714"/>
                </a:lnTo>
                <a:lnTo>
                  <a:pt x="480999" y="120250"/>
                </a:lnTo>
                <a:lnTo>
                  <a:pt x="488515" y="130271"/>
                </a:lnTo>
                <a:lnTo>
                  <a:pt x="478494" y="162839"/>
                </a:lnTo>
                <a:lnTo>
                  <a:pt x="445926" y="170354"/>
                </a:lnTo>
                <a:lnTo>
                  <a:pt x="425885" y="160333"/>
                </a:lnTo>
                <a:lnTo>
                  <a:pt x="408348" y="137787"/>
                </a:lnTo>
                <a:lnTo>
                  <a:pt x="395822" y="117745"/>
                </a:lnTo>
                <a:lnTo>
                  <a:pt x="340708" y="75156"/>
                </a:lnTo>
                <a:lnTo>
                  <a:pt x="343213" y="45094"/>
                </a:lnTo>
                <a:lnTo>
                  <a:pt x="335697" y="22547"/>
                </a:lnTo>
                <a:lnTo>
                  <a:pt x="303129" y="0"/>
                </a:lnTo>
                <a:lnTo>
                  <a:pt x="270562" y="37578"/>
                </a:lnTo>
                <a:lnTo>
                  <a:pt x="115239" y="110229"/>
                </a:lnTo>
                <a:lnTo>
                  <a:pt x="98529" y="117990"/>
                </a:lnTo>
                <a:lnTo>
                  <a:pt x="0" y="13778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8129755" y="2497391"/>
            <a:ext cx="78239" cy="127772"/>
          </a:xfrm>
          <a:custGeom>
            <a:avLst/>
            <a:gdLst>
              <a:gd name="connsiteX0" fmla="*/ 0 w 71437"/>
              <a:gd name="connsiteY0" fmla="*/ 21431 h 123825"/>
              <a:gd name="connsiteX1" fmla="*/ 26193 w 71437"/>
              <a:gd name="connsiteY1" fmla="*/ 69056 h 123825"/>
              <a:gd name="connsiteX2" fmla="*/ 23812 w 71437"/>
              <a:gd name="connsiteY2" fmla="*/ 95250 h 123825"/>
              <a:gd name="connsiteX3" fmla="*/ 42862 w 71437"/>
              <a:gd name="connsiteY3" fmla="*/ 123825 h 123825"/>
              <a:gd name="connsiteX4" fmla="*/ 66675 w 71437"/>
              <a:gd name="connsiteY4" fmla="*/ 100013 h 123825"/>
              <a:gd name="connsiteX5" fmla="*/ 71437 w 71437"/>
              <a:gd name="connsiteY5" fmla="*/ 76200 h 123825"/>
              <a:gd name="connsiteX6" fmla="*/ 66675 w 71437"/>
              <a:gd name="connsiteY6" fmla="*/ 57150 h 123825"/>
              <a:gd name="connsiteX7" fmla="*/ 71437 w 71437"/>
              <a:gd name="connsiteY7" fmla="*/ 38100 h 123825"/>
              <a:gd name="connsiteX8" fmla="*/ 50006 w 71437"/>
              <a:gd name="connsiteY8" fmla="*/ 0 h 123825"/>
              <a:gd name="connsiteX9" fmla="*/ 0 w 71437"/>
              <a:gd name="connsiteY9" fmla="*/ 21431 h 123825"/>
              <a:gd name="connsiteX0" fmla="*/ 0 w 71437"/>
              <a:gd name="connsiteY0" fmla="*/ 28575 h 130969"/>
              <a:gd name="connsiteX1" fmla="*/ 26193 w 71437"/>
              <a:gd name="connsiteY1" fmla="*/ 76200 h 130969"/>
              <a:gd name="connsiteX2" fmla="*/ 23812 w 71437"/>
              <a:gd name="connsiteY2" fmla="*/ 102394 h 130969"/>
              <a:gd name="connsiteX3" fmla="*/ 42862 w 71437"/>
              <a:gd name="connsiteY3" fmla="*/ 130969 h 130969"/>
              <a:gd name="connsiteX4" fmla="*/ 66675 w 71437"/>
              <a:gd name="connsiteY4" fmla="*/ 107157 h 130969"/>
              <a:gd name="connsiteX5" fmla="*/ 71437 w 71437"/>
              <a:gd name="connsiteY5" fmla="*/ 83344 h 130969"/>
              <a:gd name="connsiteX6" fmla="*/ 66675 w 71437"/>
              <a:gd name="connsiteY6" fmla="*/ 64294 h 130969"/>
              <a:gd name="connsiteX7" fmla="*/ 71437 w 71437"/>
              <a:gd name="connsiteY7" fmla="*/ 45244 h 130969"/>
              <a:gd name="connsiteX8" fmla="*/ 42862 w 71437"/>
              <a:gd name="connsiteY8" fmla="*/ 0 h 130969"/>
              <a:gd name="connsiteX9" fmla="*/ 0 w 71437"/>
              <a:gd name="connsiteY9" fmla="*/ 28575 h 130969"/>
              <a:gd name="connsiteX0" fmla="*/ 0 w 80962"/>
              <a:gd name="connsiteY0" fmla="*/ 26194 h 130969"/>
              <a:gd name="connsiteX1" fmla="*/ 35718 w 80962"/>
              <a:gd name="connsiteY1" fmla="*/ 76200 h 130969"/>
              <a:gd name="connsiteX2" fmla="*/ 33337 w 80962"/>
              <a:gd name="connsiteY2" fmla="*/ 102394 h 130969"/>
              <a:gd name="connsiteX3" fmla="*/ 52387 w 80962"/>
              <a:gd name="connsiteY3" fmla="*/ 130969 h 130969"/>
              <a:gd name="connsiteX4" fmla="*/ 76200 w 80962"/>
              <a:gd name="connsiteY4" fmla="*/ 107157 h 130969"/>
              <a:gd name="connsiteX5" fmla="*/ 80962 w 80962"/>
              <a:gd name="connsiteY5" fmla="*/ 83344 h 130969"/>
              <a:gd name="connsiteX6" fmla="*/ 76200 w 80962"/>
              <a:gd name="connsiteY6" fmla="*/ 64294 h 130969"/>
              <a:gd name="connsiteX7" fmla="*/ 80962 w 80962"/>
              <a:gd name="connsiteY7" fmla="*/ 45244 h 130969"/>
              <a:gd name="connsiteX8" fmla="*/ 52387 w 80962"/>
              <a:gd name="connsiteY8" fmla="*/ 0 h 130969"/>
              <a:gd name="connsiteX9" fmla="*/ 0 w 80962"/>
              <a:gd name="connsiteY9" fmla="*/ 26194 h 130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962" h="130969">
                <a:moveTo>
                  <a:pt x="0" y="26194"/>
                </a:moveTo>
                <a:lnTo>
                  <a:pt x="35718" y="76200"/>
                </a:lnTo>
                <a:lnTo>
                  <a:pt x="33337" y="102394"/>
                </a:lnTo>
                <a:lnTo>
                  <a:pt x="52387" y="130969"/>
                </a:lnTo>
                <a:lnTo>
                  <a:pt x="76200" y="107157"/>
                </a:lnTo>
                <a:lnTo>
                  <a:pt x="80962" y="83344"/>
                </a:lnTo>
                <a:lnTo>
                  <a:pt x="76200" y="64294"/>
                </a:lnTo>
                <a:lnTo>
                  <a:pt x="80962" y="45244"/>
                </a:lnTo>
                <a:lnTo>
                  <a:pt x="52387" y="0"/>
                </a:lnTo>
                <a:lnTo>
                  <a:pt x="0" y="261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7911909" y="2523560"/>
            <a:ext cx="265401" cy="233992"/>
          </a:xfrm>
          <a:custGeom>
            <a:avLst/>
            <a:gdLst>
              <a:gd name="connsiteX0" fmla="*/ 0 w 273844"/>
              <a:gd name="connsiteY0" fmla="*/ 85725 h 235743"/>
              <a:gd name="connsiteX1" fmla="*/ 11906 w 273844"/>
              <a:gd name="connsiteY1" fmla="*/ 142875 h 235743"/>
              <a:gd name="connsiteX2" fmla="*/ 64294 w 273844"/>
              <a:gd name="connsiteY2" fmla="*/ 235743 h 235743"/>
              <a:gd name="connsiteX3" fmla="*/ 109538 w 273844"/>
              <a:gd name="connsiteY3" fmla="*/ 214312 h 235743"/>
              <a:gd name="connsiteX4" fmla="*/ 121444 w 273844"/>
              <a:gd name="connsiteY4" fmla="*/ 192881 h 235743"/>
              <a:gd name="connsiteX5" fmla="*/ 145256 w 273844"/>
              <a:gd name="connsiteY5" fmla="*/ 164306 h 235743"/>
              <a:gd name="connsiteX6" fmla="*/ 188119 w 273844"/>
              <a:gd name="connsiteY6" fmla="*/ 161925 h 235743"/>
              <a:gd name="connsiteX7" fmla="*/ 207169 w 273844"/>
              <a:gd name="connsiteY7" fmla="*/ 152400 h 235743"/>
              <a:gd name="connsiteX8" fmla="*/ 216694 w 273844"/>
              <a:gd name="connsiteY8" fmla="*/ 126206 h 235743"/>
              <a:gd name="connsiteX9" fmla="*/ 269081 w 273844"/>
              <a:gd name="connsiteY9" fmla="*/ 111918 h 235743"/>
              <a:gd name="connsiteX10" fmla="*/ 273844 w 273844"/>
              <a:gd name="connsiteY10" fmla="*/ 102393 h 235743"/>
              <a:gd name="connsiteX11" fmla="*/ 259556 w 273844"/>
              <a:gd name="connsiteY11" fmla="*/ 69056 h 235743"/>
              <a:gd name="connsiteX12" fmla="*/ 259556 w 273844"/>
              <a:gd name="connsiteY12" fmla="*/ 30956 h 235743"/>
              <a:gd name="connsiteX13" fmla="*/ 223838 w 273844"/>
              <a:gd name="connsiteY13" fmla="*/ 0 h 235743"/>
              <a:gd name="connsiteX14" fmla="*/ 0 w 273844"/>
              <a:gd name="connsiteY14" fmla="*/ 85725 h 235743"/>
              <a:gd name="connsiteX0" fmla="*/ 0 w 273844"/>
              <a:gd name="connsiteY0" fmla="*/ 92893 h 242911"/>
              <a:gd name="connsiteX1" fmla="*/ 11906 w 273844"/>
              <a:gd name="connsiteY1" fmla="*/ 150043 h 242911"/>
              <a:gd name="connsiteX2" fmla="*/ 64294 w 273844"/>
              <a:gd name="connsiteY2" fmla="*/ 242911 h 242911"/>
              <a:gd name="connsiteX3" fmla="*/ 109538 w 273844"/>
              <a:gd name="connsiteY3" fmla="*/ 221480 h 242911"/>
              <a:gd name="connsiteX4" fmla="*/ 121444 w 273844"/>
              <a:gd name="connsiteY4" fmla="*/ 200049 h 242911"/>
              <a:gd name="connsiteX5" fmla="*/ 145256 w 273844"/>
              <a:gd name="connsiteY5" fmla="*/ 171474 h 242911"/>
              <a:gd name="connsiteX6" fmla="*/ 188119 w 273844"/>
              <a:gd name="connsiteY6" fmla="*/ 169093 h 242911"/>
              <a:gd name="connsiteX7" fmla="*/ 207169 w 273844"/>
              <a:gd name="connsiteY7" fmla="*/ 159568 h 242911"/>
              <a:gd name="connsiteX8" fmla="*/ 216694 w 273844"/>
              <a:gd name="connsiteY8" fmla="*/ 133374 h 242911"/>
              <a:gd name="connsiteX9" fmla="*/ 269081 w 273844"/>
              <a:gd name="connsiteY9" fmla="*/ 119086 h 242911"/>
              <a:gd name="connsiteX10" fmla="*/ 273844 w 273844"/>
              <a:gd name="connsiteY10" fmla="*/ 109561 h 242911"/>
              <a:gd name="connsiteX11" fmla="*/ 259556 w 273844"/>
              <a:gd name="connsiteY11" fmla="*/ 76224 h 242911"/>
              <a:gd name="connsiteX12" fmla="*/ 259556 w 273844"/>
              <a:gd name="connsiteY12" fmla="*/ 38124 h 242911"/>
              <a:gd name="connsiteX13" fmla="*/ 219089 w 273844"/>
              <a:gd name="connsiteY13" fmla="*/ 0 h 242911"/>
              <a:gd name="connsiteX14" fmla="*/ 0 w 273844"/>
              <a:gd name="connsiteY14" fmla="*/ 92893 h 242911"/>
              <a:gd name="connsiteX0" fmla="*/ 0 w 273844"/>
              <a:gd name="connsiteY0" fmla="*/ 92893 h 242911"/>
              <a:gd name="connsiteX1" fmla="*/ 2409 w 273844"/>
              <a:gd name="connsiteY1" fmla="*/ 150043 h 242911"/>
              <a:gd name="connsiteX2" fmla="*/ 64294 w 273844"/>
              <a:gd name="connsiteY2" fmla="*/ 242911 h 242911"/>
              <a:gd name="connsiteX3" fmla="*/ 109538 w 273844"/>
              <a:gd name="connsiteY3" fmla="*/ 221480 h 242911"/>
              <a:gd name="connsiteX4" fmla="*/ 121444 w 273844"/>
              <a:gd name="connsiteY4" fmla="*/ 200049 h 242911"/>
              <a:gd name="connsiteX5" fmla="*/ 145256 w 273844"/>
              <a:gd name="connsiteY5" fmla="*/ 171474 h 242911"/>
              <a:gd name="connsiteX6" fmla="*/ 188119 w 273844"/>
              <a:gd name="connsiteY6" fmla="*/ 169093 h 242911"/>
              <a:gd name="connsiteX7" fmla="*/ 207169 w 273844"/>
              <a:gd name="connsiteY7" fmla="*/ 159568 h 242911"/>
              <a:gd name="connsiteX8" fmla="*/ 216694 w 273844"/>
              <a:gd name="connsiteY8" fmla="*/ 133374 h 242911"/>
              <a:gd name="connsiteX9" fmla="*/ 269081 w 273844"/>
              <a:gd name="connsiteY9" fmla="*/ 119086 h 242911"/>
              <a:gd name="connsiteX10" fmla="*/ 273844 w 273844"/>
              <a:gd name="connsiteY10" fmla="*/ 109561 h 242911"/>
              <a:gd name="connsiteX11" fmla="*/ 259556 w 273844"/>
              <a:gd name="connsiteY11" fmla="*/ 76224 h 242911"/>
              <a:gd name="connsiteX12" fmla="*/ 259556 w 273844"/>
              <a:gd name="connsiteY12" fmla="*/ 38124 h 242911"/>
              <a:gd name="connsiteX13" fmla="*/ 219089 w 273844"/>
              <a:gd name="connsiteY13" fmla="*/ 0 h 242911"/>
              <a:gd name="connsiteX14" fmla="*/ 0 w 273844"/>
              <a:gd name="connsiteY14" fmla="*/ 92893 h 242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73844" h="242911">
                <a:moveTo>
                  <a:pt x="0" y="92893"/>
                </a:moveTo>
                <a:lnTo>
                  <a:pt x="2409" y="150043"/>
                </a:lnTo>
                <a:lnTo>
                  <a:pt x="64294" y="242911"/>
                </a:lnTo>
                <a:lnTo>
                  <a:pt x="109538" y="221480"/>
                </a:lnTo>
                <a:lnTo>
                  <a:pt x="121444" y="200049"/>
                </a:lnTo>
                <a:lnTo>
                  <a:pt x="145256" y="171474"/>
                </a:lnTo>
                <a:lnTo>
                  <a:pt x="188119" y="169093"/>
                </a:lnTo>
                <a:lnTo>
                  <a:pt x="207169" y="159568"/>
                </a:lnTo>
                <a:lnTo>
                  <a:pt x="216694" y="133374"/>
                </a:lnTo>
                <a:lnTo>
                  <a:pt x="269081" y="119086"/>
                </a:lnTo>
                <a:lnTo>
                  <a:pt x="273844" y="109561"/>
                </a:lnTo>
                <a:lnTo>
                  <a:pt x="259556" y="76224"/>
                </a:lnTo>
                <a:lnTo>
                  <a:pt x="259556" y="38124"/>
                </a:lnTo>
                <a:lnTo>
                  <a:pt x="219089" y="0"/>
                </a:lnTo>
                <a:lnTo>
                  <a:pt x="0" y="9289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3" name="Freeform 42"/>
          <p:cNvSpPr/>
          <p:nvPr/>
        </p:nvSpPr>
        <p:spPr>
          <a:xfrm>
            <a:off x="7746228" y="2783722"/>
            <a:ext cx="211706" cy="443354"/>
          </a:xfrm>
          <a:custGeom>
            <a:avLst/>
            <a:gdLst>
              <a:gd name="connsiteX0" fmla="*/ 21431 w 219075"/>
              <a:gd name="connsiteY0" fmla="*/ 0 h 457200"/>
              <a:gd name="connsiteX1" fmla="*/ 7144 w 219075"/>
              <a:gd name="connsiteY1" fmla="*/ 64294 h 457200"/>
              <a:gd name="connsiteX2" fmla="*/ 0 w 219075"/>
              <a:gd name="connsiteY2" fmla="*/ 97631 h 457200"/>
              <a:gd name="connsiteX3" fmla="*/ 14288 w 219075"/>
              <a:gd name="connsiteY3" fmla="*/ 138113 h 457200"/>
              <a:gd name="connsiteX4" fmla="*/ 16669 w 219075"/>
              <a:gd name="connsiteY4" fmla="*/ 176213 h 457200"/>
              <a:gd name="connsiteX5" fmla="*/ 45244 w 219075"/>
              <a:gd name="connsiteY5" fmla="*/ 185738 h 457200"/>
              <a:gd name="connsiteX6" fmla="*/ 88106 w 219075"/>
              <a:gd name="connsiteY6" fmla="*/ 200025 h 457200"/>
              <a:gd name="connsiteX7" fmla="*/ 90488 w 219075"/>
              <a:gd name="connsiteY7" fmla="*/ 242888 h 457200"/>
              <a:gd name="connsiteX8" fmla="*/ 52388 w 219075"/>
              <a:gd name="connsiteY8" fmla="*/ 302419 h 457200"/>
              <a:gd name="connsiteX9" fmla="*/ 30956 w 219075"/>
              <a:gd name="connsiteY9" fmla="*/ 350044 h 457200"/>
              <a:gd name="connsiteX10" fmla="*/ 42863 w 219075"/>
              <a:gd name="connsiteY10" fmla="*/ 383381 h 457200"/>
              <a:gd name="connsiteX11" fmla="*/ 83344 w 219075"/>
              <a:gd name="connsiteY11" fmla="*/ 400050 h 457200"/>
              <a:gd name="connsiteX12" fmla="*/ 126206 w 219075"/>
              <a:gd name="connsiteY12" fmla="*/ 407194 h 457200"/>
              <a:gd name="connsiteX13" fmla="*/ 130969 w 219075"/>
              <a:gd name="connsiteY13" fmla="*/ 435769 h 457200"/>
              <a:gd name="connsiteX14" fmla="*/ 150019 w 219075"/>
              <a:gd name="connsiteY14" fmla="*/ 457200 h 457200"/>
              <a:gd name="connsiteX15" fmla="*/ 161925 w 219075"/>
              <a:gd name="connsiteY15" fmla="*/ 438150 h 457200"/>
              <a:gd name="connsiteX16" fmla="*/ 166688 w 219075"/>
              <a:gd name="connsiteY16" fmla="*/ 397669 h 457200"/>
              <a:gd name="connsiteX17" fmla="*/ 171450 w 219075"/>
              <a:gd name="connsiteY17" fmla="*/ 383381 h 457200"/>
              <a:gd name="connsiteX18" fmla="*/ 183356 w 219075"/>
              <a:gd name="connsiteY18" fmla="*/ 354806 h 457200"/>
              <a:gd name="connsiteX19" fmla="*/ 185738 w 219075"/>
              <a:gd name="connsiteY19" fmla="*/ 311944 h 457200"/>
              <a:gd name="connsiteX20" fmla="*/ 202406 w 219075"/>
              <a:gd name="connsiteY20" fmla="*/ 283369 h 457200"/>
              <a:gd name="connsiteX21" fmla="*/ 200025 w 219075"/>
              <a:gd name="connsiteY21" fmla="*/ 264319 h 457200"/>
              <a:gd name="connsiteX22" fmla="*/ 216694 w 219075"/>
              <a:gd name="connsiteY22" fmla="*/ 207169 h 457200"/>
              <a:gd name="connsiteX23" fmla="*/ 219075 w 219075"/>
              <a:gd name="connsiteY23" fmla="*/ 169069 h 457200"/>
              <a:gd name="connsiteX24" fmla="*/ 192881 w 219075"/>
              <a:gd name="connsiteY24" fmla="*/ 145256 h 457200"/>
              <a:gd name="connsiteX25" fmla="*/ 171450 w 219075"/>
              <a:gd name="connsiteY25" fmla="*/ 147638 h 457200"/>
              <a:gd name="connsiteX26" fmla="*/ 166688 w 219075"/>
              <a:gd name="connsiteY26" fmla="*/ 138113 h 457200"/>
              <a:gd name="connsiteX27" fmla="*/ 159544 w 219075"/>
              <a:gd name="connsiteY27" fmla="*/ 119063 h 457200"/>
              <a:gd name="connsiteX28" fmla="*/ 171450 w 219075"/>
              <a:gd name="connsiteY28" fmla="*/ 73819 h 457200"/>
              <a:gd name="connsiteX29" fmla="*/ 192881 w 219075"/>
              <a:gd name="connsiteY29" fmla="*/ 38100 h 457200"/>
              <a:gd name="connsiteX30" fmla="*/ 164306 w 219075"/>
              <a:gd name="connsiteY30" fmla="*/ 16669 h 457200"/>
              <a:gd name="connsiteX31" fmla="*/ 111919 w 219075"/>
              <a:gd name="connsiteY31" fmla="*/ 21431 h 457200"/>
              <a:gd name="connsiteX32" fmla="*/ 21431 w 219075"/>
              <a:gd name="connsiteY32" fmla="*/ 0 h 457200"/>
              <a:gd name="connsiteX0" fmla="*/ 11906 w 219075"/>
              <a:gd name="connsiteY0" fmla="*/ 0 h 457200"/>
              <a:gd name="connsiteX1" fmla="*/ 7144 w 219075"/>
              <a:gd name="connsiteY1" fmla="*/ 64294 h 457200"/>
              <a:gd name="connsiteX2" fmla="*/ 0 w 219075"/>
              <a:gd name="connsiteY2" fmla="*/ 97631 h 457200"/>
              <a:gd name="connsiteX3" fmla="*/ 14288 w 219075"/>
              <a:gd name="connsiteY3" fmla="*/ 138113 h 457200"/>
              <a:gd name="connsiteX4" fmla="*/ 16669 w 219075"/>
              <a:gd name="connsiteY4" fmla="*/ 176213 h 457200"/>
              <a:gd name="connsiteX5" fmla="*/ 45244 w 219075"/>
              <a:gd name="connsiteY5" fmla="*/ 185738 h 457200"/>
              <a:gd name="connsiteX6" fmla="*/ 88106 w 219075"/>
              <a:gd name="connsiteY6" fmla="*/ 200025 h 457200"/>
              <a:gd name="connsiteX7" fmla="*/ 90488 w 219075"/>
              <a:gd name="connsiteY7" fmla="*/ 242888 h 457200"/>
              <a:gd name="connsiteX8" fmla="*/ 52388 w 219075"/>
              <a:gd name="connsiteY8" fmla="*/ 302419 h 457200"/>
              <a:gd name="connsiteX9" fmla="*/ 30956 w 219075"/>
              <a:gd name="connsiteY9" fmla="*/ 350044 h 457200"/>
              <a:gd name="connsiteX10" fmla="*/ 42863 w 219075"/>
              <a:gd name="connsiteY10" fmla="*/ 383381 h 457200"/>
              <a:gd name="connsiteX11" fmla="*/ 83344 w 219075"/>
              <a:gd name="connsiteY11" fmla="*/ 400050 h 457200"/>
              <a:gd name="connsiteX12" fmla="*/ 126206 w 219075"/>
              <a:gd name="connsiteY12" fmla="*/ 407194 h 457200"/>
              <a:gd name="connsiteX13" fmla="*/ 130969 w 219075"/>
              <a:gd name="connsiteY13" fmla="*/ 435769 h 457200"/>
              <a:gd name="connsiteX14" fmla="*/ 150019 w 219075"/>
              <a:gd name="connsiteY14" fmla="*/ 457200 h 457200"/>
              <a:gd name="connsiteX15" fmla="*/ 161925 w 219075"/>
              <a:gd name="connsiteY15" fmla="*/ 438150 h 457200"/>
              <a:gd name="connsiteX16" fmla="*/ 166688 w 219075"/>
              <a:gd name="connsiteY16" fmla="*/ 397669 h 457200"/>
              <a:gd name="connsiteX17" fmla="*/ 171450 w 219075"/>
              <a:gd name="connsiteY17" fmla="*/ 383381 h 457200"/>
              <a:gd name="connsiteX18" fmla="*/ 183356 w 219075"/>
              <a:gd name="connsiteY18" fmla="*/ 354806 h 457200"/>
              <a:gd name="connsiteX19" fmla="*/ 185738 w 219075"/>
              <a:gd name="connsiteY19" fmla="*/ 311944 h 457200"/>
              <a:gd name="connsiteX20" fmla="*/ 202406 w 219075"/>
              <a:gd name="connsiteY20" fmla="*/ 283369 h 457200"/>
              <a:gd name="connsiteX21" fmla="*/ 200025 w 219075"/>
              <a:gd name="connsiteY21" fmla="*/ 264319 h 457200"/>
              <a:gd name="connsiteX22" fmla="*/ 216694 w 219075"/>
              <a:gd name="connsiteY22" fmla="*/ 207169 h 457200"/>
              <a:gd name="connsiteX23" fmla="*/ 219075 w 219075"/>
              <a:gd name="connsiteY23" fmla="*/ 169069 h 457200"/>
              <a:gd name="connsiteX24" fmla="*/ 192881 w 219075"/>
              <a:gd name="connsiteY24" fmla="*/ 145256 h 457200"/>
              <a:gd name="connsiteX25" fmla="*/ 171450 w 219075"/>
              <a:gd name="connsiteY25" fmla="*/ 147638 h 457200"/>
              <a:gd name="connsiteX26" fmla="*/ 166688 w 219075"/>
              <a:gd name="connsiteY26" fmla="*/ 138113 h 457200"/>
              <a:gd name="connsiteX27" fmla="*/ 159544 w 219075"/>
              <a:gd name="connsiteY27" fmla="*/ 119063 h 457200"/>
              <a:gd name="connsiteX28" fmla="*/ 171450 w 219075"/>
              <a:gd name="connsiteY28" fmla="*/ 73819 h 457200"/>
              <a:gd name="connsiteX29" fmla="*/ 192881 w 219075"/>
              <a:gd name="connsiteY29" fmla="*/ 38100 h 457200"/>
              <a:gd name="connsiteX30" fmla="*/ 164306 w 219075"/>
              <a:gd name="connsiteY30" fmla="*/ 16669 h 457200"/>
              <a:gd name="connsiteX31" fmla="*/ 111919 w 219075"/>
              <a:gd name="connsiteY31" fmla="*/ 21431 h 457200"/>
              <a:gd name="connsiteX32" fmla="*/ 11906 w 219075"/>
              <a:gd name="connsiteY32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19075" h="457200">
                <a:moveTo>
                  <a:pt x="11906" y="0"/>
                </a:moveTo>
                <a:lnTo>
                  <a:pt x="7144" y="64294"/>
                </a:lnTo>
                <a:lnTo>
                  <a:pt x="0" y="97631"/>
                </a:lnTo>
                <a:lnTo>
                  <a:pt x="14288" y="138113"/>
                </a:lnTo>
                <a:lnTo>
                  <a:pt x="16669" y="176213"/>
                </a:lnTo>
                <a:lnTo>
                  <a:pt x="45244" y="185738"/>
                </a:lnTo>
                <a:lnTo>
                  <a:pt x="88106" y="200025"/>
                </a:lnTo>
                <a:lnTo>
                  <a:pt x="90488" y="242888"/>
                </a:lnTo>
                <a:lnTo>
                  <a:pt x="52388" y="302419"/>
                </a:lnTo>
                <a:lnTo>
                  <a:pt x="30956" y="350044"/>
                </a:lnTo>
                <a:lnTo>
                  <a:pt x="42863" y="383381"/>
                </a:lnTo>
                <a:lnTo>
                  <a:pt x="83344" y="400050"/>
                </a:lnTo>
                <a:lnTo>
                  <a:pt x="126206" y="407194"/>
                </a:lnTo>
                <a:lnTo>
                  <a:pt x="130969" y="435769"/>
                </a:lnTo>
                <a:lnTo>
                  <a:pt x="150019" y="457200"/>
                </a:lnTo>
                <a:lnTo>
                  <a:pt x="161925" y="438150"/>
                </a:lnTo>
                <a:lnTo>
                  <a:pt x="166688" y="397669"/>
                </a:lnTo>
                <a:lnTo>
                  <a:pt x="171450" y="383381"/>
                </a:lnTo>
                <a:lnTo>
                  <a:pt x="183356" y="354806"/>
                </a:lnTo>
                <a:lnTo>
                  <a:pt x="185738" y="311944"/>
                </a:lnTo>
                <a:lnTo>
                  <a:pt x="202406" y="283369"/>
                </a:lnTo>
                <a:lnTo>
                  <a:pt x="200025" y="264319"/>
                </a:lnTo>
                <a:lnTo>
                  <a:pt x="216694" y="207169"/>
                </a:lnTo>
                <a:lnTo>
                  <a:pt x="219075" y="169069"/>
                </a:lnTo>
                <a:lnTo>
                  <a:pt x="192881" y="145256"/>
                </a:lnTo>
                <a:lnTo>
                  <a:pt x="171450" y="147638"/>
                </a:lnTo>
                <a:lnTo>
                  <a:pt x="166688" y="138113"/>
                </a:lnTo>
                <a:lnTo>
                  <a:pt x="159544" y="119063"/>
                </a:lnTo>
                <a:lnTo>
                  <a:pt x="171450" y="73819"/>
                </a:lnTo>
                <a:lnTo>
                  <a:pt x="192881" y="38100"/>
                </a:lnTo>
                <a:lnTo>
                  <a:pt x="164306" y="16669"/>
                </a:lnTo>
                <a:lnTo>
                  <a:pt x="111919" y="21431"/>
                </a:lnTo>
                <a:lnTo>
                  <a:pt x="1190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7735490" y="3117778"/>
            <a:ext cx="148807" cy="243229"/>
          </a:xfrm>
          <a:custGeom>
            <a:avLst/>
            <a:gdLst>
              <a:gd name="connsiteX0" fmla="*/ 0 w 154781"/>
              <a:gd name="connsiteY0" fmla="*/ 0 h 235744"/>
              <a:gd name="connsiteX1" fmla="*/ 30956 w 154781"/>
              <a:gd name="connsiteY1" fmla="*/ 66675 h 235744"/>
              <a:gd name="connsiteX2" fmla="*/ 28575 w 154781"/>
              <a:gd name="connsiteY2" fmla="*/ 85725 h 235744"/>
              <a:gd name="connsiteX3" fmla="*/ 52387 w 154781"/>
              <a:gd name="connsiteY3" fmla="*/ 126206 h 235744"/>
              <a:gd name="connsiteX4" fmla="*/ 47625 w 154781"/>
              <a:gd name="connsiteY4" fmla="*/ 142875 h 235744"/>
              <a:gd name="connsiteX5" fmla="*/ 66675 w 154781"/>
              <a:gd name="connsiteY5" fmla="*/ 183356 h 235744"/>
              <a:gd name="connsiteX6" fmla="*/ 69056 w 154781"/>
              <a:gd name="connsiteY6" fmla="*/ 207169 h 235744"/>
              <a:gd name="connsiteX7" fmla="*/ 78581 w 154781"/>
              <a:gd name="connsiteY7" fmla="*/ 235744 h 235744"/>
              <a:gd name="connsiteX8" fmla="*/ 92869 w 154781"/>
              <a:gd name="connsiteY8" fmla="*/ 221456 h 235744"/>
              <a:gd name="connsiteX9" fmla="*/ 114300 w 154781"/>
              <a:gd name="connsiteY9" fmla="*/ 214312 h 235744"/>
              <a:gd name="connsiteX10" fmla="*/ 114300 w 154781"/>
              <a:gd name="connsiteY10" fmla="*/ 214312 h 235744"/>
              <a:gd name="connsiteX11" fmla="*/ 152400 w 154781"/>
              <a:gd name="connsiteY11" fmla="*/ 195262 h 235744"/>
              <a:gd name="connsiteX12" fmla="*/ 154781 w 154781"/>
              <a:gd name="connsiteY12" fmla="*/ 159544 h 235744"/>
              <a:gd name="connsiteX13" fmla="*/ 147637 w 154781"/>
              <a:gd name="connsiteY13" fmla="*/ 135731 h 235744"/>
              <a:gd name="connsiteX14" fmla="*/ 128587 w 154781"/>
              <a:gd name="connsiteY14" fmla="*/ 119062 h 235744"/>
              <a:gd name="connsiteX15" fmla="*/ 121444 w 154781"/>
              <a:gd name="connsiteY15" fmla="*/ 126206 h 235744"/>
              <a:gd name="connsiteX16" fmla="*/ 102394 w 154781"/>
              <a:gd name="connsiteY16" fmla="*/ 116681 h 235744"/>
              <a:gd name="connsiteX17" fmla="*/ 83344 w 154781"/>
              <a:gd name="connsiteY17" fmla="*/ 95250 h 235744"/>
              <a:gd name="connsiteX18" fmla="*/ 71437 w 154781"/>
              <a:gd name="connsiteY18" fmla="*/ 76200 h 235744"/>
              <a:gd name="connsiteX19" fmla="*/ 45244 w 154781"/>
              <a:gd name="connsiteY19" fmla="*/ 33337 h 235744"/>
              <a:gd name="connsiteX20" fmla="*/ 0 w 154781"/>
              <a:gd name="connsiteY20" fmla="*/ 0 h 235744"/>
              <a:gd name="connsiteX0" fmla="*/ 0 w 154781"/>
              <a:gd name="connsiteY0" fmla="*/ 14288 h 250032"/>
              <a:gd name="connsiteX1" fmla="*/ 30956 w 154781"/>
              <a:gd name="connsiteY1" fmla="*/ 80963 h 250032"/>
              <a:gd name="connsiteX2" fmla="*/ 28575 w 154781"/>
              <a:gd name="connsiteY2" fmla="*/ 100013 h 250032"/>
              <a:gd name="connsiteX3" fmla="*/ 52387 w 154781"/>
              <a:gd name="connsiteY3" fmla="*/ 140494 h 250032"/>
              <a:gd name="connsiteX4" fmla="*/ 47625 w 154781"/>
              <a:gd name="connsiteY4" fmla="*/ 157163 h 250032"/>
              <a:gd name="connsiteX5" fmla="*/ 66675 w 154781"/>
              <a:gd name="connsiteY5" fmla="*/ 197644 h 250032"/>
              <a:gd name="connsiteX6" fmla="*/ 69056 w 154781"/>
              <a:gd name="connsiteY6" fmla="*/ 221457 h 250032"/>
              <a:gd name="connsiteX7" fmla="*/ 78581 w 154781"/>
              <a:gd name="connsiteY7" fmla="*/ 250032 h 250032"/>
              <a:gd name="connsiteX8" fmla="*/ 92869 w 154781"/>
              <a:gd name="connsiteY8" fmla="*/ 235744 h 250032"/>
              <a:gd name="connsiteX9" fmla="*/ 114300 w 154781"/>
              <a:gd name="connsiteY9" fmla="*/ 228600 h 250032"/>
              <a:gd name="connsiteX10" fmla="*/ 114300 w 154781"/>
              <a:gd name="connsiteY10" fmla="*/ 228600 h 250032"/>
              <a:gd name="connsiteX11" fmla="*/ 152400 w 154781"/>
              <a:gd name="connsiteY11" fmla="*/ 209550 h 250032"/>
              <a:gd name="connsiteX12" fmla="*/ 154781 w 154781"/>
              <a:gd name="connsiteY12" fmla="*/ 173832 h 250032"/>
              <a:gd name="connsiteX13" fmla="*/ 147637 w 154781"/>
              <a:gd name="connsiteY13" fmla="*/ 150019 h 250032"/>
              <a:gd name="connsiteX14" fmla="*/ 128587 w 154781"/>
              <a:gd name="connsiteY14" fmla="*/ 133350 h 250032"/>
              <a:gd name="connsiteX15" fmla="*/ 121444 w 154781"/>
              <a:gd name="connsiteY15" fmla="*/ 140494 h 250032"/>
              <a:gd name="connsiteX16" fmla="*/ 102394 w 154781"/>
              <a:gd name="connsiteY16" fmla="*/ 130969 h 250032"/>
              <a:gd name="connsiteX17" fmla="*/ 83344 w 154781"/>
              <a:gd name="connsiteY17" fmla="*/ 109538 h 250032"/>
              <a:gd name="connsiteX18" fmla="*/ 71437 w 154781"/>
              <a:gd name="connsiteY18" fmla="*/ 90488 h 250032"/>
              <a:gd name="connsiteX19" fmla="*/ 30957 w 154781"/>
              <a:gd name="connsiteY19" fmla="*/ 0 h 250032"/>
              <a:gd name="connsiteX20" fmla="*/ 0 w 154781"/>
              <a:gd name="connsiteY20" fmla="*/ 14288 h 250032"/>
              <a:gd name="connsiteX0" fmla="*/ 0 w 154793"/>
              <a:gd name="connsiteY0" fmla="*/ 14288 h 250032"/>
              <a:gd name="connsiteX1" fmla="*/ 30956 w 154793"/>
              <a:gd name="connsiteY1" fmla="*/ 80963 h 250032"/>
              <a:gd name="connsiteX2" fmla="*/ 28575 w 154793"/>
              <a:gd name="connsiteY2" fmla="*/ 100013 h 250032"/>
              <a:gd name="connsiteX3" fmla="*/ 52387 w 154793"/>
              <a:gd name="connsiteY3" fmla="*/ 140494 h 250032"/>
              <a:gd name="connsiteX4" fmla="*/ 47625 w 154793"/>
              <a:gd name="connsiteY4" fmla="*/ 157163 h 250032"/>
              <a:gd name="connsiteX5" fmla="*/ 66675 w 154793"/>
              <a:gd name="connsiteY5" fmla="*/ 197644 h 250032"/>
              <a:gd name="connsiteX6" fmla="*/ 69056 w 154793"/>
              <a:gd name="connsiteY6" fmla="*/ 221457 h 250032"/>
              <a:gd name="connsiteX7" fmla="*/ 78581 w 154793"/>
              <a:gd name="connsiteY7" fmla="*/ 250032 h 250032"/>
              <a:gd name="connsiteX8" fmla="*/ 92869 w 154793"/>
              <a:gd name="connsiteY8" fmla="*/ 235744 h 250032"/>
              <a:gd name="connsiteX9" fmla="*/ 114300 w 154793"/>
              <a:gd name="connsiteY9" fmla="*/ 228600 h 250032"/>
              <a:gd name="connsiteX10" fmla="*/ 114300 w 154793"/>
              <a:gd name="connsiteY10" fmla="*/ 228600 h 250032"/>
              <a:gd name="connsiteX11" fmla="*/ 154793 w 154793"/>
              <a:gd name="connsiteY11" fmla="*/ 230914 h 250032"/>
              <a:gd name="connsiteX12" fmla="*/ 154781 w 154793"/>
              <a:gd name="connsiteY12" fmla="*/ 173832 h 250032"/>
              <a:gd name="connsiteX13" fmla="*/ 147637 w 154793"/>
              <a:gd name="connsiteY13" fmla="*/ 150019 h 250032"/>
              <a:gd name="connsiteX14" fmla="*/ 128587 w 154793"/>
              <a:gd name="connsiteY14" fmla="*/ 133350 h 250032"/>
              <a:gd name="connsiteX15" fmla="*/ 121444 w 154793"/>
              <a:gd name="connsiteY15" fmla="*/ 140494 h 250032"/>
              <a:gd name="connsiteX16" fmla="*/ 102394 w 154793"/>
              <a:gd name="connsiteY16" fmla="*/ 130969 h 250032"/>
              <a:gd name="connsiteX17" fmla="*/ 83344 w 154793"/>
              <a:gd name="connsiteY17" fmla="*/ 109538 h 250032"/>
              <a:gd name="connsiteX18" fmla="*/ 71437 w 154793"/>
              <a:gd name="connsiteY18" fmla="*/ 90488 h 250032"/>
              <a:gd name="connsiteX19" fmla="*/ 30957 w 154793"/>
              <a:gd name="connsiteY19" fmla="*/ 0 h 250032"/>
              <a:gd name="connsiteX20" fmla="*/ 0 w 154793"/>
              <a:gd name="connsiteY20" fmla="*/ 14288 h 250032"/>
              <a:gd name="connsiteX0" fmla="*/ 0 w 154793"/>
              <a:gd name="connsiteY0" fmla="*/ 14288 h 250032"/>
              <a:gd name="connsiteX1" fmla="*/ 30956 w 154793"/>
              <a:gd name="connsiteY1" fmla="*/ 80963 h 250032"/>
              <a:gd name="connsiteX2" fmla="*/ 28575 w 154793"/>
              <a:gd name="connsiteY2" fmla="*/ 100013 h 250032"/>
              <a:gd name="connsiteX3" fmla="*/ 52387 w 154793"/>
              <a:gd name="connsiteY3" fmla="*/ 140494 h 250032"/>
              <a:gd name="connsiteX4" fmla="*/ 47625 w 154793"/>
              <a:gd name="connsiteY4" fmla="*/ 157163 h 250032"/>
              <a:gd name="connsiteX5" fmla="*/ 66675 w 154793"/>
              <a:gd name="connsiteY5" fmla="*/ 197644 h 250032"/>
              <a:gd name="connsiteX6" fmla="*/ 69056 w 154793"/>
              <a:gd name="connsiteY6" fmla="*/ 221457 h 250032"/>
              <a:gd name="connsiteX7" fmla="*/ 78581 w 154793"/>
              <a:gd name="connsiteY7" fmla="*/ 250032 h 250032"/>
              <a:gd name="connsiteX8" fmla="*/ 92869 w 154793"/>
              <a:gd name="connsiteY8" fmla="*/ 235744 h 250032"/>
              <a:gd name="connsiteX9" fmla="*/ 114300 w 154793"/>
              <a:gd name="connsiteY9" fmla="*/ 228600 h 250032"/>
              <a:gd name="connsiteX10" fmla="*/ 116694 w 154793"/>
              <a:gd name="connsiteY10" fmla="*/ 242843 h 250032"/>
              <a:gd name="connsiteX11" fmla="*/ 154793 w 154793"/>
              <a:gd name="connsiteY11" fmla="*/ 230914 h 250032"/>
              <a:gd name="connsiteX12" fmla="*/ 154781 w 154793"/>
              <a:gd name="connsiteY12" fmla="*/ 173832 h 250032"/>
              <a:gd name="connsiteX13" fmla="*/ 147637 w 154793"/>
              <a:gd name="connsiteY13" fmla="*/ 150019 h 250032"/>
              <a:gd name="connsiteX14" fmla="*/ 128587 w 154793"/>
              <a:gd name="connsiteY14" fmla="*/ 133350 h 250032"/>
              <a:gd name="connsiteX15" fmla="*/ 121444 w 154793"/>
              <a:gd name="connsiteY15" fmla="*/ 140494 h 250032"/>
              <a:gd name="connsiteX16" fmla="*/ 102394 w 154793"/>
              <a:gd name="connsiteY16" fmla="*/ 130969 h 250032"/>
              <a:gd name="connsiteX17" fmla="*/ 83344 w 154793"/>
              <a:gd name="connsiteY17" fmla="*/ 109538 h 250032"/>
              <a:gd name="connsiteX18" fmla="*/ 71437 w 154793"/>
              <a:gd name="connsiteY18" fmla="*/ 90488 h 250032"/>
              <a:gd name="connsiteX19" fmla="*/ 30957 w 154793"/>
              <a:gd name="connsiteY19" fmla="*/ 0 h 250032"/>
              <a:gd name="connsiteX20" fmla="*/ 0 w 154793"/>
              <a:gd name="connsiteY20" fmla="*/ 14288 h 250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54793" h="250032">
                <a:moveTo>
                  <a:pt x="0" y="14288"/>
                </a:moveTo>
                <a:lnTo>
                  <a:pt x="30956" y="80963"/>
                </a:lnTo>
                <a:lnTo>
                  <a:pt x="28575" y="100013"/>
                </a:lnTo>
                <a:lnTo>
                  <a:pt x="52387" y="140494"/>
                </a:lnTo>
                <a:lnTo>
                  <a:pt x="47625" y="157163"/>
                </a:lnTo>
                <a:lnTo>
                  <a:pt x="66675" y="197644"/>
                </a:lnTo>
                <a:lnTo>
                  <a:pt x="69056" y="221457"/>
                </a:lnTo>
                <a:lnTo>
                  <a:pt x="78581" y="250032"/>
                </a:lnTo>
                <a:lnTo>
                  <a:pt x="92869" y="235744"/>
                </a:lnTo>
                <a:lnTo>
                  <a:pt x="114300" y="228600"/>
                </a:lnTo>
                <a:lnTo>
                  <a:pt x="116694" y="242843"/>
                </a:lnTo>
                <a:lnTo>
                  <a:pt x="154793" y="230914"/>
                </a:lnTo>
                <a:cubicBezTo>
                  <a:pt x="154789" y="211887"/>
                  <a:pt x="154785" y="192859"/>
                  <a:pt x="154781" y="173832"/>
                </a:cubicBezTo>
                <a:lnTo>
                  <a:pt x="147637" y="150019"/>
                </a:lnTo>
                <a:lnTo>
                  <a:pt x="128587" y="133350"/>
                </a:lnTo>
                <a:lnTo>
                  <a:pt x="121444" y="140494"/>
                </a:lnTo>
                <a:lnTo>
                  <a:pt x="102394" y="130969"/>
                </a:lnTo>
                <a:lnTo>
                  <a:pt x="83344" y="109538"/>
                </a:lnTo>
                <a:lnTo>
                  <a:pt x="71437" y="90488"/>
                </a:lnTo>
                <a:lnTo>
                  <a:pt x="30957" y="0"/>
                </a:lnTo>
                <a:lnTo>
                  <a:pt x="0" y="1428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5" name="Freeform 44"/>
          <p:cNvSpPr/>
          <p:nvPr/>
        </p:nvSpPr>
        <p:spPr>
          <a:xfrm>
            <a:off x="6844177" y="3160883"/>
            <a:ext cx="642789" cy="705055"/>
          </a:xfrm>
          <a:custGeom>
            <a:avLst/>
            <a:gdLst>
              <a:gd name="connsiteX0" fmla="*/ 190500 w 664369"/>
              <a:gd name="connsiteY0" fmla="*/ 0 h 704850"/>
              <a:gd name="connsiteX1" fmla="*/ 195263 w 664369"/>
              <a:gd name="connsiteY1" fmla="*/ 73819 h 704850"/>
              <a:gd name="connsiteX2" fmla="*/ 195263 w 664369"/>
              <a:gd name="connsiteY2" fmla="*/ 178594 h 704850"/>
              <a:gd name="connsiteX3" fmla="*/ 147638 w 664369"/>
              <a:gd name="connsiteY3" fmla="*/ 264319 h 704850"/>
              <a:gd name="connsiteX4" fmla="*/ 111919 w 664369"/>
              <a:gd name="connsiteY4" fmla="*/ 285750 h 704850"/>
              <a:gd name="connsiteX5" fmla="*/ 92869 w 664369"/>
              <a:gd name="connsiteY5" fmla="*/ 297657 h 704850"/>
              <a:gd name="connsiteX6" fmla="*/ 90488 w 664369"/>
              <a:gd name="connsiteY6" fmla="*/ 326232 h 704850"/>
              <a:gd name="connsiteX7" fmla="*/ 102394 w 664369"/>
              <a:gd name="connsiteY7" fmla="*/ 330994 h 704850"/>
              <a:gd name="connsiteX8" fmla="*/ 100013 w 664369"/>
              <a:gd name="connsiteY8" fmla="*/ 354807 h 704850"/>
              <a:gd name="connsiteX9" fmla="*/ 104775 w 664369"/>
              <a:gd name="connsiteY9" fmla="*/ 369094 h 704850"/>
              <a:gd name="connsiteX10" fmla="*/ 83344 w 664369"/>
              <a:gd name="connsiteY10" fmla="*/ 388144 h 704850"/>
              <a:gd name="connsiteX11" fmla="*/ 80963 w 664369"/>
              <a:gd name="connsiteY11" fmla="*/ 392907 h 704850"/>
              <a:gd name="connsiteX12" fmla="*/ 69056 w 664369"/>
              <a:gd name="connsiteY12" fmla="*/ 369094 h 704850"/>
              <a:gd name="connsiteX13" fmla="*/ 45244 w 664369"/>
              <a:gd name="connsiteY13" fmla="*/ 381000 h 704850"/>
              <a:gd name="connsiteX14" fmla="*/ 45244 w 664369"/>
              <a:gd name="connsiteY14" fmla="*/ 421482 h 704850"/>
              <a:gd name="connsiteX15" fmla="*/ 52388 w 664369"/>
              <a:gd name="connsiteY15" fmla="*/ 438150 h 704850"/>
              <a:gd name="connsiteX16" fmla="*/ 0 w 664369"/>
              <a:gd name="connsiteY16" fmla="*/ 502444 h 704850"/>
              <a:gd name="connsiteX17" fmla="*/ 33338 w 664369"/>
              <a:gd name="connsiteY17" fmla="*/ 607219 h 704850"/>
              <a:gd name="connsiteX18" fmla="*/ 88106 w 664369"/>
              <a:gd name="connsiteY18" fmla="*/ 642938 h 704850"/>
              <a:gd name="connsiteX19" fmla="*/ 104775 w 664369"/>
              <a:gd name="connsiteY19" fmla="*/ 638175 h 704850"/>
              <a:gd name="connsiteX20" fmla="*/ 152400 w 664369"/>
              <a:gd name="connsiteY20" fmla="*/ 685800 h 704850"/>
              <a:gd name="connsiteX21" fmla="*/ 169069 w 664369"/>
              <a:gd name="connsiteY21" fmla="*/ 685800 h 704850"/>
              <a:gd name="connsiteX22" fmla="*/ 214313 w 664369"/>
              <a:gd name="connsiteY22" fmla="*/ 704850 h 704850"/>
              <a:gd name="connsiteX23" fmla="*/ 230981 w 664369"/>
              <a:gd name="connsiteY23" fmla="*/ 666750 h 704850"/>
              <a:gd name="connsiteX24" fmla="*/ 264319 w 664369"/>
              <a:gd name="connsiteY24" fmla="*/ 647700 h 704850"/>
              <a:gd name="connsiteX25" fmla="*/ 285750 w 664369"/>
              <a:gd name="connsiteY25" fmla="*/ 645319 h 704850"/>
              <a:gd name="connsiteX26" fmla="*/ 352425 w 664369"/>
              <a:gd name="connsiteY26" fmla="*/ 604838 h 704850"/>
              <a:gd name="connsiteX27" fmla="*/ 369094 w 664369"/>
              <a:gd name="connsiteY27" fmla="*/ 597694 h 704850"/>
              <a:gd name="connsiteX28" fmla="*/ 366713 w 664369"/>
              <a:gd name="connsiteY28" fmla="*/ 559594 h 704850"/>
              <a:gd name="connsiteX29" fmla="*/ 369094 w 664369"/>
              <a:gd name="connsiteY29" fmla="*/ 528638 h 704850"/>
              <a:gd name="connsiteX30" fmla="*/ 373856 w 664369"/>
              <a:gd name="connsiteY30" fmla="*/ 497682 h 704850"/>
              <a:gd name="connsiteX31" fmla="*/ 381000 w 664369"/>
              <a:gd name="connsiteY31" fmla="*/ 473869 h 704850"/>
              <a:gd name="connsiteX32" fmla="*/ 407194 w 664369"/>
              <a:gd name="connsiteY32" fmla="*/ 435769 h 704850"/>
              <a:gd name="connsiteX33" fmla="*/ 428625 w 664369"/>
              <a:gd name="connsiteY33" fmla="*/ 385763 h 704850"/>
              <a:gd name="connsiteX34" fmla="*/ 428625 w 664369"/>
              <a:gd name="connsiteY34" fmla="*/ 385763 h 704850"/>
              <a:gd name="connsiteX35" fmla="*/ 476250 w 664369"/>
              <a:gd name="connsiteY35" fmla="*/ 354807 h 704850"/>
              <a:gd name="connsiteX36" fmla="*/ 502444 w 664369"/>
              <a:gd name="connsiteY36" fmla="*/ 330994 h 704850"/>
              <a:gd name="connsiteX37" fmla="*/ 507206 w 664369"/>
              <a:gd name="connsiteY37" fmla="*/ 292894 h 704850"/>
              <a:gd name="connsiteX38" fmla="*/ 573881 w 664369"/>
              <a:gd name="connsiteY38" fmla="*/ 188119 h 704850"/>
              <a:gd name="connsiteX39" fmla="*/ 571500 w 664369"/>
              <a:gd name="connsiteY39" fmla="*/ 169069 h 704850"/>
              <a:gd name="connsiteX40" fmla="*/ 573881 w 664369"/>
              <a:gd name="connsiteY40" fmla="*/ 159544 h 704850"/>
              <a:gd name="connsiteX41" fmla="*/ 614363 w 664369"/>
              <a:gd name="connsiteY41" fmla="*/ 150019 h 704850"/>
              <a:gd name="connsiteX42" fmla="*/ 628650 w 664369"/>
              <a:gd name="connsiteY42" fmla="*/ 159544 h 704850"/>
              <a:gd name="connsiteX43" fmla="*/ 647700 w 664369"/>
              <a:gd name="connsiteY43" fmla="*/ 161925 h 704850"/>
              <a:gd name="connsiteX44" fmla="*/ 659606 w 664369"/>
              <a:gd name="connsiteY44" fmla="*/ 133350 h 704850"/>
              <a:gd name="connsiteX45" fmla="*/ 664369 w 664369"/>
              <a:gd name="connsiteY45" fmla="*/ 119063 h 704850"/>
              <a:gd name="connsiteX46" fmla="*/ 645319 w 664369"/>
              <a:gd name="connsiteY46" fmla="*/ 104775 h 704850"/>
              <a:gd name="connsiteX47" fmla="*/ 642938 w 664369"/>
              <a:gd name="connsiteY47" fmla="*/ 92869 h 704850"/>
              <a:gd name="connsiteX48" fmla="*/ 621506 w 664369"/>
              <a:gd name="connsiteY48" fmla="*/ 83344 h 704850"/>
              <a:gd name="connsiteX49" fmla="*/ 590550 w 664369"/>
              <a:gd name="connsiteY49" fmla="*/ 88107 h 704850"/>
              <a:gd name="connsiteX50" fmla="*/ 573881 w 664369"/>
              <a:gd name="connsiteY50" fmla="*/ 104775 h 704850"/>
              <a:gd name="connsiteX51" fmla="*/ 564356 w 664369"/>
              <a:gd name="connsiteY51" fmla="*/ 116682 h 704850"/>
              <a:gd name="connsiteX52" fmla="*/ 547688 w 664369"/>
              <a:gd name="connsiteY52" fmla="*/ 126207 h 704850"/>
              <a:gd name="connsiteX53" fmla="*/ 528638 w 664369"/>
              <a:gd name="connsiteY53" fmla="*/ 133350 h 704850"/>
              <a:gd name="connsiteX54" fmla="*/ 516731 w 664369"/>
              <a:gd name="connsiteY54" fmla="*/ 128588 h 704850"/>
              <a:gd name="connsiteX55" fmla="*/ 502444 w 664369"/>
              <a:gd name="connsiteY55" fmla="*/ 128588 h 704850"/>
              <a:gd name="connsiteX56" fmla="*/ 495300 w 664369"/>
              <a:gd name="connsiteY56" fmla="*/ 121444 h 704850"/>
              <a:gd name="connsiteX57" fmla="*/ 478631 w 664369"/>
              <a:gd name="connsiteY57" fmla="*/ 164307 h 704850"/>
              <a:gd name="connsiteX58" fmla="*/ 469106 w 664369"/>
              <a:gd name="connsiteY58" fmla="*/ 173832 h 704850"/>
              <a:gd name="connsiteX59" fmla="*/ 459581 w 664369"/>
              <a:gd name="connsiteY59" fmla="*/ 173832 h 704850"/>
              <a:gd name="connsiteX60" fmla="*/ 459581 w 664369"/>
              <a:gd name="connsiteY60" fmla="*/ 173832 h 704850"/>
              <a:gd name="connsiteX61" fmla="*/ 445294 w 664369"/>
              <a:gd name="connsiteY61" fmla="*/ 188119 h 704850"/>
              <a:gd name="connsiteX62" fmla="*/ 431006 w 664369"/>
              <a:gd name="connsiteY62" fmla="*/ 200025 h 704850"/>
              <a:gd name="connsiteX63" fmla="*/ 421481 w 664369"/>
              <a:gd name="connsiteY63" fmla="*/ 207169 h 704850"/>
              <a:gd name="connsiteX64" fmla="*/ 411956 w 664369"/>
              <a:gd name="connsiteY64" fmla="*/ 185738 h 704850"/>
              <a:gd name="connsiteX65" fmla="*/ 397669 w 664369"/>
              <a:gd name="connsiteY65" fmla="*/ 164307 h 704850"/>
              <a:gd name="connsiteX66" fmla="*/ 385763 w 664369"/>
              <a:gd name="connsiteY66" fmla="*/ 145257 h 704850"/>
              <a:gd name="connsiteX67" fmla="*/ 247650 w 664369"/>
              <a:gd name="connsiteY67" fmla="*/ 180975 h 704850"/>
              <a:gd name="connsiteX68" fmla="*/ 190500 w 664369"/>
              <a:gd name="connsiteY68" fmla="*/ 0 h 704850"/>
              <a:gd name="connsiteX0" fmla="*/ 190500 w 664369"/>
              <a:gd name="connsiteY0" fmla="*/ 0 h 704850"/>
              <a:gd name="connsiteX1" fmla="*/ 195263 w 664369"/>
              <a:gd name="connsiteY1" fmla="*/ 73819 h 704850"/>
              <a:gd name="connsiteX2" fmla="*/ 195263 w 664369"/>
              <a:gd name="connsiteY2" fmla="*/ 178594 h 704850"/>
              <a:gd name="connsiteX3" fmla="*/ 147638 w 664369"/>
              <a:gd name="connsiteY3" fmla="*/ 264319 h 704850"/>
              <a:gd name="connsiteX4" fmla="*/ 111919 w 664369"/>
              <a:gd name="connsiteY4" fmla="*/ 285750 h 704850"/>
              <a:gd name="connsiteX5" fmla="*/ 92869 w 664369"/>
              <a:gd name="connsiteY5" fmla="*/ 297657 h 704850"/>
              <a:gd name="connsiteX6" fmla="*/ 90488 w 664369"/>
              <a:gd name="connsiteY6" fmla="*/ 326232 h 704850"/>
              <a:gd name="connsiteX7" fmla="*/ 102394 w 664369"/>
              <a:gd name="connsiteY7" fmla="*/ 330994 h 704850"/>
              <a:gd name="connsiteX8" fmla="*/ 100013 w 664369"/>
              <a:gd name="connsiteY8" fmla="*/ 354807 h 704850"/>
              <a:gd name="connsiteX9" fmla="*/ 104775 w 664369"/>
              <a:gd name="connsiteY9" fmla="*/ 369094 h 704850"/>
              <a:gd name="connsiteX10" fmla="*/ 83344 w 664369"/>
              <a:gd name="connsiteY10" fmla="*/ 388144 h 704850"/>
              <a:gd name="connsiteX11" fmla="*/ 80963 w 664369"/>
              <a:gd name="connsiteY11" fmla="*/ 392907 h 704850"/>
              <a:gd name="connsiteX12" fmla="*/ 69056 w 664369"/>
              <a:gd name="connsiteY12" fmla="*/ 369094 h 704850"/>
              <a:gd name="connsiteX13" fmla="*/ 45244 w 664369"/>
              <a:gd name="connsiteY13" fmla="*/ 381000 h 704850"/>
              <a:gd name="connsiteX14" fmla="*/ 45244 w 664369"/>
              <a:gd name="connsiteY14" fmla="*/ 421482 h 704850"/>
              <a:gd name="connsiteX15" fmla="*/ 52388 w 664369"/>
              <a:gd name="connsiteY15" fmla="*/ 438150 h 704850"/>
              <a:gd name="connsiteX16" fmla="*/ 0 w 664369"/>
              <a:gd name="connsiteY16" fmla="*/ 502444 h 704850"/>
              <a:gd name="connsiteX17" fmla="*/ 33338 w 664369"/>
              <a:gd name="connsiteY17" fmla="*/ 607219 h 704850"/>
              <a:gd name="connsiteX18" fmla="*/ 88106 w 664369"/>
              <a:gd name="connsiteY18" fmla="*/ 642938 h 704850"/>
              <a:gd name="connsiteX19" fmla="*/ 104775 w 664369"/>
              <a:gd name="connsiteY19" fmla="*/ 638175 h 704850"/>
              <a:gd name="connsiteX20" fmla="*/ 152400 w 664369"/>
              <a:gd name="connsiteY20" fmla="*/ 685800 h 704850"/>
              <a:gd name="connsiteX21" fmla="*/ 169069 w 664369"/>
              <a:gd name="connsiteY21" fmla="*/ 685800 h 704850"/>
              <a:gd name="connsiteX22" fmla="*/ 214313 w 664369"/>
              <a:gd name="connsiteY22" fmla="*/ 704850 h 704850"/>
              <a:gd name="connsiteX23" fmla="*/ 230981 w 664369"/>
              <a:gd name="connsiteY23" fmla="*/ 666750 h 704850"/>
              <a:gd name="connsiteX24" fmla="*/ 264319 w 664369"/>
              <a:gd name="connsiteY24" fmla="*/ 647700 h 704850"/>
              <a:gd name="connsiteX25" fmla="*/ 285750 w 664369"/>
              <a:gd name="connsiteY25" fmla="*/ 645319 h 704850"/>
              <a:gd name="connsiteX26" fmla="*/ 352425 w 664369"/>
              <a:gd name="connsiteY26" fmla="*/ 604838 h 704850"/>
              <a:gd name="connsiteX27" fmla="*/ 369094 w 664369"/>
              <a:gd name="connsiteY27" fmla="*/ 597694 h 704850"/>
              <a:gd name="connsiteX28" fmla="*/ 366713 w 664369"/>
              <a:gd name="connsiteY28" fmla="*/ 559594 h 704850"/>
              <a:gd name="connsiteX29" fmla="*/ 369094 w 664369"/>
              <a:gd name="connsiteY29" fmla="*/ 528638 h 704850"/>
              <a:gd name="connsiteX30" fmla="*/ 373856 w 664369"/>
              <a:gd name="connsiteY30" fmla="*/ 497682 h 704850"/>
              <a:gd name="connsiteX31" fmla="*/ 381000 w 664369"/>
              <a:gd name="connsiteY31" fmla="*/ 473869 h 704850"/>
              <a:gd name="connsiteX32" fmla="*/ 407194 w 664369"/>
              <a:gd name="connsiteY32" fmla="*/ 435769 h 704850"/>
              <a:gd name="connsiteX33" fmla="*/ 428625 w 664369"/>
              <a:gd name="connsiteY33" fmla="*/ 385763 h 704850"/>
              <a:gd name="connsiteX34" fmla="*/ 428625 w 664369"/>
              <a:gd name="connsiteY34" fmla="*/ 385763 h 704850"/>
              <a:gd name="connsiteX35" fmla="*/ 476250 w 664369"/>
              <a:gd name="connsiteY35" fmla="*/ 354807 h 704850"/>
              <a:gd name="connsiteX36" fmla="*/ 502444 w 664369"/>
              <a:gd name="connsiteY36" fmla="*/ 330994 h 704850"/>
              <a:gd name="connsiteX37" fmla="*/ 507206 w 664369"/>
              <a:gd name="connsiteY37" fmla="*/ 292894 h 704850"/>
              <a:gd name="connsiteX38" fmla="*/ 573881 w 664369"/>
              <a:gd name="connsiteY38" fmla="*/ 188119 h 704850"/>
              <a:gd name="connsiteX39" fmla="*/ 571500 w 664369"/>
              <a:gd name="connsiteY39" fmla="*/ 169069 h 704850"/>
              <a:gd name="connsiteX40" fmla="*/ 573881 w 664369"/>
              <a:gd name="connsiteY40" fmla="*/ 159544 h 704850"/>
              <a:gd name="connsiteX41" fmla="*/ 614363 w 664369"/>
              <a:gd name="connsiteY41" fmla="*/ 150019 h 704850"/>
              <a:gd name="connsiteX42" fmla="*/ 628650 w 664369"/>
              <a:gd name="connsiteY42" fmla="*/ 159544 h 704850"/>
              <a:gd name="connsiteX43" fmla="*/ 647700 w 664369"/>
              <a:gd name="connsiteY43" fmla="*/ 161925 h 704850"/>
              <a:gd name="connsiteX44" fmla="*/ 659606 w 664369"/>
              <a:gd name="connsiteY44" fmla="*/ 133350 h 704850"/>
              <a:gd name="connsiteX45" fmla="*/ 664369 w 664369"/>
              <a:gd name="connsiteY45" fmla="*/ 119063 h 704850"/>
              <a:gd name="connsiteX46" fmla="*/ 645319 w 664369"/>
              <a:gd name="connsiteY46" fmla="*/ 104775 h 704850"/>
              <a:gd name="connsiteX47" fmla="*/ 642938 w 664369"/>
              <a:gd name="connsiteY47" fmla="*/ 92869 h 704850"/>
              <a:gd name="connsiteX48" fmla="*/ 621506 w 664369"/>
              <a:gd name="connsiteY48" fmla="*/ 83344 h 704850"/>
              <a:gd name="connsiteX49" fmla="*/ 590550 w 664369"/>
              <a:gd name="connsiteY49" fmla="*/ 88107 h 704850"/>
              <a:gd name="connsiteX50" fmla="*/ 573881 w 664369"/>
              <a:gd name="connsiteY50" fmla="*/ 104775 h 704850"/>
              <a:gd name="connsiteX51" fmla="*/ 564356 w 664369"/>
              <a:gd name="connsiteY51" fmla="*/ 116682 h 704850"/>
              <a:gd name="connsiteX52" fmla="*/ 547688 w 664369"/>
              <a:gd name="connsiteY52" fmla="*/ 126207 h 704850"/>
              <a:gd name="connsiteX53" fmla="*/ 528638 w 664369"/>
              <a:gd name="connsiteY53" fmla="*/ 133350 h 704850"/>
              <a:gd name="connsiteX54" fmla="*/ 516731 w 664369"/>
              <a:gd name="connsiteY54" fmla="*/ 128588 h 704850"/>
              <a:gd name="connsiteX55" fmla="*/ 502444 w 664369"/>
              <a:gd name="connsiteY55" fmla="*/ 128588 h 704850"/>
              <a:gd name="connsiteX56" fmla="*/ 495300 w 664369"/>
              <a:gd name="connsiteY56" fmla="*/ 121444 h 704850"/>
              <a:gd name="connsiteX57" fmla="*/ 478631 w 664369"/>
              <a:gd name="connsiteY57" fmla="*/ 164307 h 704850"/>
              <a:gd name="connsiteX58" fmla="*/ 469106 w 664369"/>
              <a:gd name="connsiteY58" fmla="*/ 173832 h 704850"/>
              <a:gd name="connsiteX59" fmla="*/ 459581 w 664369"/>
              <a:gd name="connsiteY59" fmla="*/ 173832 h 704850"/>
              <a:gd name="connsiteX60" fmla="*/ 459581 w 664369"/>
              <a:gd name="connsiteY60" fmla="*/ 173832 h 704850"/>
              <a:gd name="connsiteX61" fmla="*/ 445294 w 664369"/>
              <a:gd name="connsiteY61" fmla="*/ 188119 h 704850"/>
              <a:gd name="connsiteX62" fmla="*/ 431006 w 664369"/>
              <a:gd name="connsiteY62" fmla="*/ 200025 h 704850"/>
              <a:gd name="connsiteX63" fmla="*/ 421481 w 664369"/>
              <a:gd name="connsiteY63" fmla="*/ 207169 h 704850"/>
              <a:gd name="connsiteX64" fmla="*/ 411956 w 664369"/>
              <a:gd name="connsiteY64" fmla="*/ 185738 h 704850"/>
              <a:gd name="connsiteX65" fmla="*/ 397669 w 664369"/>
              <a:gd name="connsiteY65" fmla="*/ 164307 h 704850"/>
              <a:gd name="connsiteX66" fmla="*/ 385763 w 664369"/>
              <a:gd name="connsiteY66" fmla="*/ 145257 h 704850"/>
              <a:gd name="connsiteX67" fmla="*/ 247650 w 664369"/>
              <a:gd name="connsiteY67" fmla="*/ 180975 h 704850"/>
              <a:gd name="connsiteX68" fmla="*/ 204788 w 664369"/>
              <a:gd name="connsiteY68" fmla="*/ 54769 h 704850"/>
              <a:gd name="connsiteX69" fmla="*/ 190500 w 664369"/>
              <a:gd name="connsiteY69" fmla="*/ 0 h 704850"/>
              <a:gd name="connsiteX0" fmla="*/ 190500 w 664369"/>
              <a:gd name="connsiteY0" fmla="*/ 4762 h 709612"/>
              <a:gd name="connsiteX1" fmla="*/ 195263 w 664369"/>
              <a:gd name="connsiteY1" fmla="*/ 78581 h 709612"/>
              <a:gd name="connsiteX2" fmla="*/ 195263 w 664369"/>
              <a:gd name="connsiteY2" fmla="*/ 183356 h 709612"/>
              <a:gd name="connsiteX3" fmla="*/ 147638 w 664369"/>
              <a:gd name="connsiteY3" fmla="*/ 269081 h 709612"/>
              <a:gd name="connsiteX4" fmla="*/ 111919 w 664369"/>
              <a:gd name="connsiteY4" fmla="*/ 290512 h 709612"/>
              <a:gd name="connsiteX5" fmla="*/ 92869 w 664369"/>
              <a:gd name="connsiteY5" fmla="*/ 302419 h 709612"/>
              <a:gd name="connsiteX6" fmla="*/ 90488 w 664369"/>
              <a:gd name="connsiteY6" fmla="*/ 330994 h 709612"/>
              <a:gd name="connsiteX7" fmla="*/ 102394 w 664369"/>
              <a:gd name="connsiteY7" fmla="*/ 335756 h 709612"/>
              <a:gd name="connsiteX8" fmla="*/ 100013 w 664369"/>
              <a:gd name="connsiteY8" fmla="*/ 359569 h 709612"/>
              <a:gd name="connsiteX9" fmla="*/ 104775 w 664369"/>
              <a:gd name="connsiteY9" fmla="*/ 373856 h 709612"/>
              <a:gd name="connsiteX10" fmla="*/ 83344 w 664369"/>
              <a:gd name="connsiteY10" fmla="*/ 392906 h 709612"/>
              <a:gd name="connsiteX11" fmla="*/ 80963 w 664369"/>
              <a:gd name="connsiteY11" fmla="*/ 397669 h 709612"/>
              <a:gd name="connsiteX12" fmla="*/ 69056 w 664369"/>
              <a:gd name="connsiteY12" fmla="*/ 373856 h 709612"/>
              <a:gd name="connsiteX13" fmla="*/ 45244 w 664369"/>
              <a:gd name="connsiteY13" fmla="*/ 385762 h 709612"/>
              <a:gd name="connsiteX14" fmla="*/ 45244 w 664369"/>
              <a:gd name="connsiteY14" fmla="*/ 426244 h 709612"/>
              <a:gd name="connsiteX15" fmla="*/ 52388 w 664369"/>
              <a:gd name="connsiteY15" fmla="*/ 442912 h 709612"/>
              <a:gd name="connsiteX16" fmla="*/ 0 w 664369"/>
              <a:gd name="connsiteY16" fmla="*/ 507206 h 709612"/>
              <a:gd name="connsiteX17" fmla="*/ 33338 w 664369"/>
              <a:gd name="connsiteY17" fmla="*/ 611981 h 709612"/>
              <a:gd name="connsiteX18" fmla="*/ 88106 w 664369"/>
              <a:gd name="connsiteY18" fmla="*/ 647700 h 709612"/>
              <a:gd name="connsiteX19" fmla="*/ 104775 w 664369"/>
              <a:gd name="connsiteY19" fmla="*/ 642937 h 709612"/>
              <a:gd name="connsiteX20" fmla="*/ 152400 w 664369"/>
              <a:gd name="connsiteY20" fmla="*/ 690562 h 709612"/>
              <a:gd name="connsiteX21" fmla="*/ 169069 w 664369"/>
              <a:gd name="connsiteY21" fmla="*/ 690562 h 709612"/>
              <a:gd name="connsiteX22" fmla="*/ 214313 w 664369"/>
              <a:gd name="connsiteY22" fmla="*/ 709612 h 709612"/>
              <a:gd name="connsiteX23" fmla="*/ 230981 w 664369"/>
              <a:gd name="connsiteY23" fmla="*/ 671512 h 709612"/>
              <a:gd name="connsiteX24" fmla="*/ 264319 w 664369"/>
              <a:gd name="connsiteY24" fmla="*/ 652462 h 709612"/>
              <a:gd name="connsiteX25" fmla="*/ 285750 w 664369"/>
              <a:gd name="connsiteY25" fmla="*/ 650081 h 709612"/>
              <a:gd name="connsiteX26" fmla="*/ 352425 w 664369"/>
              <a:gd name="connsiteY26" fmla="*/ 609600 h 709612"/>
              <a:gd name="connsiteX27" fmla="*/ 369094 w 664369"/>
              <a:gd name="connsiteY27" fmla="*/ 602456 h 709612"/>
              <a:gd name="connsiteX28" fmla="*/ 366713 w 664369"/>
              <a:gd name="connsiteY28" fmla="*/ 564356 h 709612"/>
              <a:gd name="connsiteX29" fmla="*/ 369094 w 664369"/>
              <a:gd name="connsiteY29" fmla="*/ 533400 h 709612"/>
              <a:gd name="connsiteX30" fmla="*/ 373856 w 664369"/>
              <a:gd name="connsiteY30" fmla="*/ 502444 h 709612"/>
              <a:gd name="connsiteX31" fmla="*/ 381000 w 664369"/>
              <a:gd name="connsiteY31" fmla="*/ 478631 h 709612"/>
              <a:gd name="connsiteX32" fmla="*/ 407194 w 664369"/>
              <a:gd name="connsiteY32" fmla="*/ 440531 h 709612"/>
              <a:gd name="connsiteX33" fmla="*/ 428625 w 664369"/>
              <a:gd name="connsiteY33" fmla="*/ 390525 h 709612"/>
              <a:gd name="connsiteX34" fmla="*/ 428625 w 664369"/>
              <a:gd name="connsiteY34" fmla="*/ 390525 h 709612"/>
              <a:gd name="connsiteX35" fmla="*/ 476250 w 664369"/>
              <a:gd name="connsiteY35" fmla="*/ 359569 h 709612"/>
              <a:gd name="connsiteX36" fmla="*/ 502444 w 664369"/>
              <a:gd name="connsiteY36" fmla="*/ 335756 h 709612"/>
              <a:gd name="connsiteX37" fmla="*/ 507206 w 664369"/>
              <a:gd name="connsiteY37" fmla="*/ 297656 h 709612"/>
              <a:gd name="connsiteX38" fmla="*/ 573881 w 664369"/>
              <a:gd name="connsiteY38" fmla="*/ 192881 h 709612"/>
              <a:gd name="connsiteX39" fmla="*/ 571500 w 664369"/>
              <a:gd name="connsiteY39" fmla="*/ 173831 h 709612"/>
              <a:gd name="connsiteX40" fmla="*/ 573881 w 664369"/>
              <a:gd name="connsiteY40" fmla="*/ 164306 h 709612"/>
              <a:gd name="connsiteX41" fmla="*/ 614363 w 664369"/>
              <a:gd name="connsiteY41" fmla="*/ 154781 h 709612"/>
              <a:gd name="connsiteX42" fmla="*/ 628650 w 664369"/>
              <a:gd name="connsiteY42" fmla="*/ 164306 h 709612"/>
              <a:gd name="connsiteX43" fmla="*/ 647700 w 664369"/>
              <a:gd name="connsiteY43" fmla="*/ 166687 h 709612"/>
              <a:gd name="connsiteX44" fmla="*/ 659606 w 664369"/>
              <a:gd name="connsiteY44" fmla="*/ 138112 h 709612"/>
              <a:gd name="connsiteX45" fmla="*/ 664369 w 664369"/>
              <a:gd name="connsiteY45" fmla="*/ 123825 h 709612"/>
              <a:gd name="connsiteX46" fmla="*/ 645319 w 664369"/>
              <a:gd name="connsiteY46" fmla="*/ 109537 h 709612"/>
              <a:gd name="connsiteX47" fmla="*/ 642938 w 664369"/>
              <a:gd name="connsiteY47" fmla="*/ 97631 h 709612"/>
              <a:gd name="connsiteX48" fmla="*/ 621506 w 664369"/>
              <a:gd name="connsiteY48" fmla="*/ 88106 h 709612"/>
              <a:gd name="connsiteX49" fmla="*/ 590550 w 664369"/>
              <a:gd name="connsiteY49" fmla="*/ 92869 h 709612"/>
              <a:gd name="connsiteX50" fmla="*/ 573881 w 664369"/>
              <a:gd name="connsiteY50" fmla="*/ 109537 h 709612"/>
              <a:gd name="connsiteX51" fmla="*/ 564356 w 664369"/>
              <a:gd name="connsiteY51" fmla="*/ 121444 h 709612"/>
              <a:gd name="connsiteX52" fmla="*/ 547688 w 664369"/>
              <a:gd name="connsiteY52" fmla="*/ 130969 h 709612"/>
              <a:gd name="connsiteX53" fmla="*/ 528638 w 664369"/>
              <a:gd name="connsiteY53" fmla="*/ 138112 h 709612"/>
              <a:gd name="connsiteX54" fmla="*/ 516731 w 664369"/>
              <a:gd name="connsiteY54" fmla="*/ 133350 h 709612"/>
              <a:gd name="connsiteX55" fmla="*/ 502444 w 664369"/>
              <a:gd name="connsiteY55" fmla="*/ 133350 h 709612"/>
              <a:gd name="connsiteX56" fmla="*/ 495300 w 664369"/>
              <a:gd name="connsiteY56" fmla="*/ 126206 h 709612"/>
              <a:gd name="connsiteX57" fmla="*/ 478631 w 664369"/>
              <a:gd name="connsiteY57" fmla="*/ 169069 h 709612"/>
              <a:gd name="connsiteX58" fmla="*/ 469106 w 664369"/>
              <a:gd name="connsiteY58" fmla="*/ 178594 h 709612"/>
              <a:gd name="connsiteX59" fmla="*/ 459581 w 664369"/>
              <a:gd name="connsiteY59" fmla="*/ 178594 h 709612"/>
              <a:gd name="connsiteX60" fmla="*/ 459581 w 664369"/>
              <a:gd name="connsiteY60" fmla="*/ 178594 h 709612"/>
              <a:gd name="connsiteX61" fmla="*/ 445294 w 664369"/>
              <a:gd name="connsiteY61" fmla="*/ 192881 h 709612"/>
              <a:gd name="connsiteX62" fmla="*/ 431006 w 664369"/>
              <a:gd name="connsiteY62" fmla="*/ 204787 h 709612"/>
              <a:gd name="connsiteX63" fmla="*/ 421481 w 664369"/>
              <a:gd name="connsiteY63" fmla="*/ 211931 h 709612"/>
              <a:gd name="connsiteX64" fmla="*/ 411956 w 664369"/>
              <a:gd name="connsiteY64" fmla="*/ 190500 h 709612"/>
              <a:gd name="connsiteX65" fmla="*/ 397669 w 664369"/>
              <a:gd name="connsiteY65" fmla="*/ 169069 h 709612"/>
              <a:gd name="connsiteX66" fmla="*/ 385763 w 664369"/>
              <a:gd name="connsiteY66" fmla="*/ 150019 h 709612"/>
              <a:gd name="connsiteX67" fmla="*/ 247650 w 664369"/>
              <a:gd name="connsiteY67" fmla="*/ 185737 h 709612"/>
              <a:gd name="connsiteX68" fmla="*/ 202406 w 664369"/>
              <a:gd name="connsiteY68" fmla="*/ 0 h 709612"/>
              <a:gd name="connsiteX69" fmla="*/ 190500 w 664369"/>
              <a:gd name="connsiteY69" fmla="*/ 4762 h 709612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80963 w 664369"/>
              <a:gd name="connsiteY11" fmla="*/ 397669 h 728705"/>
              <a:gd name="connsiteX12" fmla="*/ 69056 w 664369"/>
              <a:gd name="connsiteY12" fmla="*/ 37385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169069 w 664369"/>
              <a:gd name="connsiteY21" fmla="*/ 690562 h 728705"/>
              <a:gd name="connsiteX22" fmla="*/ 214313 w 664369"/>
              <a:gd name="connsiteY22" fmla="*/ 728705 h 728705"/>
              <a:gd name="connsiteX23" fmla="*/ 230981 w 664369"/>
              <a:gd name="connsiteY23" fmla="*/ 671512 h 728705"/>
              <a:gd name="connsiteX24" fmla="*/ 264319 w 664369"/>
              <a:gd name="connsiteY24" fmla="*/ 652462 h 728705"/>
              <a:gd name="connsiteX25" fmla="*/ 285750 w 664369"/>
              <a:gd name="connsiteY25" fmla="*/ 650081 h 728705"/>
              <a:gd name="connsiteX26" fmla="*/ 352425 w 664369"/>
              <a:gd name="connsiteY26" fmla="*/ 609600 h 728705"/>
              <a:gd name="connsiteX27" fmla="*/ 369094 w 664369"/>
              <a:gd name="connsiteY27" fmla="*/ 602456 h 728705"/>
              <a:gd name="connsiteX28" fmla="*/ 366713 w 664369"/>
              <a:gd name="connsiteY28" fmla="*/ 564356 h 728705"/>
              <a:gd name="connsiteX29" fmla="*/ 369094 w 664369"/>
              <a:gd name="connsiteY29" fmla="*/ 533400 h 728705"/>
              <a:gd name="connsiteX30" fmla="*/ 373856 w 664369"/>
              <a:gd name="connsiteY30" fmla="*/ 502444 h 728705"/>
              <a:gd name="connsiteX31" fmla="*/ 381000 w 664369"/>
              <a:gd name="connsiteY31" fmla="*/ 478631 h 728705"/>
              <a:gd name="connsiteX32" fmla="*/ 407194 w 664369"/>
              <a:gd name="connsiteY32" fmla="*/ 440531 h 728705"/>
              <a:gd name="connsiteX33" fmla="*/ 428625 w 664369"/>
              <a:gd name="connsiteY33" fmla="*/ 390525 h 728705"/>
              <a:gd name="connsiteX34" fmla="*/ 428625 w 664369"/>
              <a:gd name="connsiteY34" fmla="*/ 390525 h 728705"/>
              <a:gd name="connsiteX35" fmla="*/ 476250 w 664369"/>
              <a:gd name="connsiteY35" fmla="*/ 359569 h 728705"/>
              <a:gd name="connsiteX36" fmla="*/ 502444 w 664369"/>
              <a:gd name="connsiteY36" fmla="*/ 335756 h 728705"/>
              <a:gd name="connsiteX37" fmla="*/ 507206 w 664369"/>
              <a:gd name="connsiteY37" fmla="*/ 297656 h 728705"/>
              <a:gd name="connsiteX38" fmla="*/ 573881 w 664369"/>
              <a:gd name="connsiteY38" fmla="*/ 192881 h 728705"/>
              <a:gd name="connsiteX39" fmla="*/ 571500 w 664369"/>
              <a:gd name="connsiteY39" fmla="*/ 173831 h 728705"/>
              <a:gd name="connsiteX40" fmla="*/ 573881 w 664369"/>
              <a:gd name="connsiteY40" fmla="*/ 164306 h 728705"/>
              <a:gd name="connsiteX41" fmla="*/ 614363 w 664369"/>
              <a:gd name="connsiteY41" fmla="*/ 154781 h 728705"/>
              <a:gd name="connsiteX42" fmla="*/ 628650 w 664369"/>
              <a:gd name="connsiteY42" fmla="*/ 164306 h 728705"/>
              <a:gd name="connsiteX43" fmla="*/ 647700 w 664369"/>
              <a:gd name="connsiteY43" fmla="*/ 166687 h 728705"/>
              <a:gd name="connsiteX44" fmla="*/ 659606 w 664369"/>
              <a:gd name="connsiteY44" fmla="*/ 138112 h 728705"/>
              <a:gd name="connsiteX45" fmla="*/ 664369 w 664369"/>
              <a:gd name="connsiteY45" fmla="*/ 123825 h 728705"/>
              <a:gd name="connsiteX46" fmla="*/ 645319 w 664369"/>
              <a:gd name="connsiteY46" fmla="*/ 109537 h 728705"/>
              <a:gd name="connsiteX47" fmla="*/ 642938 w 664369"/>
              <a:gd name="connsiteY47" fmla="*/ 97631 h 728705"/>
              <a:gd name="connsiteX48" fmla="*/ 621506 w 664369"/>
              <a:gd name="connsiteY48" fmla="*/ 88106 h 728705"/>
              <a:gd name="connsiteX49" fmla="*/ 590550 w 664369"/>
              <a:gd name="connsiteY49" fmla="*/ 92869 h 728705"/>
              <a:gd name="connsiteX50" fmla="*/ 573881 w 664369"/>
              <a:gd name="connsiteY50" fmla="*/ 109537 h 728705"/>
              <a:gd name="connsiteX51" fmla="*/ 564356 w 664369"/>
              <a:gd name="connsiteY51" fmla="*/ 121444 h 728705"/>
              <a:gd name="connsiteX52" fmla="*/ 547688 w 664369"/>
              <a:gd name="connsiteY52" fmla="*/ 130969 h 728705"/>
              <a:gd name="connsiteX53" fmla="*/ 528638 w 664369"/>
              <a:gd name="connsiteY53" fmla="*/ 138112 h 728705"/>
              <a:gd name="connsiteX54" fmla="*/ 516731 w 664369"/>
              <a:gd name="connsiteY54" fmla="*/ 133350 h 728705"/>
              <a:gd name="connsiteX55" fmla="*/ 502444 w 664369"/>
              <a:gd name="connsiteY55" fmla="*/ 133350 h 728705"/>
              <a:gd name="connsiteX56" fmla="*/ 495300 w 664369"/>
              <a:gd name="connsiteY56" fmla="*/ 126206 h 728705"/>
              <a:gd name="connsiteX57" fmla="*/ 478631 w 664369"/>
              <a:gd name="connsiteY57" fmla="*/ 169069 h 728705"/>
              <a:gd name="connsiteX58" fmla="*/ 469106 w 664369"/>
              <a:gd name="connsiteY58" fmla="*/ 178594 h 728705"/>
              <a:gd name="connsiteX59" fmla="*/ 459581 w 664369"/>
              <a:gd name="connsiteY59" fmla="*/ 178594 h 728705"/>
              <a:gd name="connsiteX60" fmla="*/ 459581 w 664369"/>
              <a:gd name="connsiteY60" fmla="*/ 178594 h 728705"/>
              <a:gd name="connsiteX61" fmla="*/ 445294 w 664369"/>
              <a:gd name="connsiteY61" fmla="*/ 192881 h 728705"/>
              <a:gd name="connsiteX62" fmla="*/ 431006 w 664369"/>
              <a:gd name="connsiteY62" fmla="*/ 204787 h 728705"/>
              <a:gd name="connsiteX63" fmla="*/ 421481 w 664369"/>
              <a:gd name="connsiteY63" fmla="*/ 211931 h 728705"/>
              <a:gd name="connsiteX64" fmla="*/ 411956 w 664369"/>
              <a:gd name="connsiteY64" fmla="*/ 190500 h 728705"/>
              <a:gd name="connsiteX65" fmla="*/ 397669 w 664369"/>
              <a:gd name="connsiteY65" fmla="*/ 169069 h 728705"/>
              <a:gd name="connsiteX66" fmla="*/ 385763 w 664369"/>
              <a:gd name="connsiteY66" fmla="*/ 150019 h 728705"/>
              <a:gd name="connsiteX67" fmla="*/ 247650 w 664369"/>
              <a:gd name="connsiteY67" fmla="*/ 185737 h 728705"/>
              <a:gd name="connsiteX68" fmla="*/ 202406 w 664369"/>
              <a:gd name="connsiteY68" fmla="*/ 0 h 728705"/>
              <a:gd name="connsiteX69" fmla="*/ 190500 w 664369"/>
              <a:gd name="connsiteY69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80963 w 664369"/>
              <a:gd name="connsiteY11" fmla="*/ 397669 h 728705"/>
              <a:gd name="connsiteX12" fmla="*/ 69056 w 664369"/>
              <a:gd name="connsiteY12" fmla="*/ 37385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169069 w 664369"/>
              <a:gd name="connsiteY21" fmla="*/ 690562 h 728705"/>
              <a:gd name="connsiteX22" fmla="*/ 214313 w 664369"/>
              <a:gd name="connsiteY22" fmla="*/ 728705 h 728705"/>
              <a:gd name="connsiteX23" fmla="*/ 230981 w 664369"/>
              <a:gd name="connsiteY23" fmla="*/ 671512 h 728705"/>
              <a:gd name="connsiteX24" fmla="*/ 264319 w 664369"/>
              <a:gd name="connsiteY24" fmla="*/ 652462 h 728705"/>
              <a:gd name="connsiteX25" fmla="*/ 285750 w 664369"/>
              <a:gd name="connsiteY25" fmla="*/ 650081 h 728705"/>
              <a:gd name="connsiteX26" fmla="*/ 354803 w 664369"/>
              <a:gd name="connsiteY26" fmla="*/ 628692 h 728705"/>
              <a:gd name="connsiteX27" fmla="*/ 369094 w 664369"/>
              <a:gd name="connsiteY27" fmla="*/ 602456 h 728705"/>
              <a:gd name="connsiteX28" fmla="*/ 366713 w 664369"/>
              <a:gd name="connsiteY28" fmla="*/ 564356 h 728705"/>
              <a:gd name="connsiteX29" fmla="*/ 369094 w 664369"/>
              <a:gd name="connsiteY29" fmla="*/ 533400 h 728705"/>
              <a:gd name="connsiteX30" fmla="*/ 373856 w 664369"/>
              <a:gd name="connsiteY30" fmla="*/ 502444 h 728705"/>
              <a:gd name="connsiteX31" fmla="*/ 381000 w 664369"/>
              <a:gd name="connsiteY31" fmla="*/ 478631 h 728705"/>
              <a:gd name="connsiteX32" fmla="*/ 407194 w 664369"/>
              <a:gd name="connsiteY32" fmla="*/ 440531 h 728705"/>
              <a:gd name="connsiteX33" fmla="*/ 428625 w 664369"/>
              <a:gd name="connsiteY33" fmla="*/ 390525 h 728705"/>
              <a:gd name="connsiteX34" fmla="*/ 428625 w 664369"/>
              <a:gd name="connsiteY34" fmla="*/ 390525 h 728705"/>
              <a:gd name="connsiteX35" fmla="*/ 476250 w 664369"/>
              <a:gd name="connsiteY35" fmla="*/ 359569 h 728705"/>
              <a:gd name="connsiteX36" fmla="*/ 502444 w 664369"/>
              <a:gd name="connsiteY36" fmla="*/ 335756 h 728705"/>
              <a:gd name="connsiteX37" fmla="*/ 507206 w 664369"/>
              <a:gd name="connsiteY37" fmla="*/ 297656 h 728705"/>
              <a:gd name="connsiteX38" fmla="*/ 573881 w 664369"/>
              <a:gd name="connsiteY38" fmla="*/ 192881 h 728705"/>
              <a:gd name="connsiteX39" fmla="*/ 571500 w 664369"/>
              <a:gd name="connsiteY39" fmla="*/ 173831 h 728705"/>
              <a:gd name="connsiteX40" fmla="*/ 573881 w 664369"/>
              <a:gd name="connsiteY40" fmla="*/ 164306 h 728705"/>
              <a:gd name="connsiteX41" fmla="*/ 614363 w 664369"/>
              <a:gd name="connsiteY41" fmla="*/ 154781 h 728705"/>
              <a:gd name="connsiteX42" fmla="*/ 628650 w 664369"/>
              <a:gd name="connsiteY42" fmla="*/ 164306 h 728705"/>
              <a:gd name="connsiteX43" fmla="*/ 647700 w 664369"/>
              <a:gd name="connsiteY43" fmla="*/ 166687 h 728705"/>
              <a:gd name="connsiteX44" fmla="*/ 659606 w 664369"/>
              <a:gd name="connsiteY44" fmla="*/ 138112 h 728705"/>
              <a:gd name="connsiteX45" fmla="*/ 664369 w 664369"/>
              <a:gd name="connsiteY45" fmla="*/ 123825 h 728705"/>
              <a:gd name="connsiteX46" fmla="*/ 645319 w 664369"/>
              <a:gd name="connsiteY46" fmla="*/ 109537 h 728705"/>
              <a:gd name="connsiteX47" fmla="*/ 642938 w 664369"/>
              <a:gd name="connsiteY47" fmla="*/ 97631 h 728705"/>
              <a:gd name="connsiteX48" fmla="*/ 621506 w 664369"/>
              <a:gd name="connsiteY48" fmla="*/ 88106 h 728705"/>
              <a:gd name="connsiteX49" fmla="*/ 590550 w 664369"/>
              <a:gd name="connsiteY49" fmla="*/ 92869 h 728705"/>
              <a:gd name="connsiteX50" fmla="*/ 573881 w 664369"/>
              <a:gd name="connsiteY50" fmla="*/ 109537 h 728705"/>
              <a:gd name="connsiteX51" fmla="*/ 564356 w 664369"/>
              <a:gd name="connsiteY51" fmla="*/ 121444 h 728705"/>
              <a:gd name="connsiteX52" fmla="*/ 547688 w 664369"/>
              <a:gd name="connsiteY52" fmla="*/ 130969 h 728705"/>
              <a:gd name="connsiteX53" fmla="*/ 528638 w 664369"/>
              <a:gd name="connsiteY53" fmla="*/ 138112 h 728705"/>
              <a:gd name="connsiteX54" fmla="*/ 516731 w 664369"/>
              <a:gd name="connsiteY54" fmla="*/ 133350 h 728705"/>
              <a:gd name="connsiteX55" fmla="*/ 502444 w 664369"/>
              <a:gd name="connsiteY55" fmla="*/ 133350 h 728705"/>
              <a:gd name="connsiteX56" fmla="*/ 495300 w 664369"/>
              <a:gd name="connsiteY56" fmla="*/ 126206 h 728705"/>
              <a:gd name="connsiteX57" fmla="*/ 478631 w 664369"/>
              <a:gd name="connsiteY57" fmla="*/ 169069 h 728705"/>
              <a:gd name="connsiteX58" fmla="*/ 469106 w 664369"/>
              <a:gd name="connsiteY58" fmla="*/ 178594 h 728705"/>
              <a:gd name="connsiteX59" fmla="*/ 459581 w 664369"/>
              <a:gd name="connsiteY59" fmla="*/ 178594 h 728705"/>
              <a:gd name="connsiteX60" fmla="*/ 459581 w 664369"/>
              <a:gd name="connsiteY60" fmla="*/ 178594 h 728705"/>
              <a:gd name="connsiteX61" fmla="*/ 445294 w 664369"/>
              <a:gd name="connsiteY61" fmla="*/ 192881 h 728705"/>
              <a:gd name="connsiteX62" fmla="*/ 431006 w 664369"/>
              <a:gd name="connsiteY62" fmla="*/ 204787 h 728705"/>
              <a:gd name="connsiteX63" fmla="*/ 421481 w 664369"/>
              <a:gd name="connsiteY63" fmla="*/ 211931 h 728705"/>
              <a:gd name="connsiteX64" fmla="*/ 411956 w 664369"/>
              <a:gd name="connsiteY64" fmla="*/ 190500 h 728705"/>
              <a:gd name="connsiteX65" fmla="*/ 397669 w 664369"/>
              <a:gd name="connsiteY65" fmla="*/ 169069 h 728705"/>
              <a:gd name="connsiteX66" fmla="*/ 385763 w 664369"/>
              <a:gd name="connsiteY66" fmla="*/ 150019 h 728705"/>
              <a:gd name="connsiteX67" fmla="*/ 247650 w 664369"/>
              <a:gd name="connsiteY67" fmla="*/ 185737 h 728705"/>
              <a:gd name="connsiteX68" fmla="*/ 202406 w 664369"/>
              <a:gd name="connsiteY68" fmla="*/ 0 h 728705"/>
              <a:gd name="connsiteX69" fmla="*/ 190500 w 664369"/>
              <a:gd name="connsiteY69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80963 w 664369"/>
              <a:gd name="connsiteY11" fmla="*/ 397669 h 728705"/>
              <a:gd name="connsiteX12" fmla="*/ 69056 w 664369"/>
              <a:gd name="connsiteY12" fmla="*/ 37385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169069 w 664369"/>
              <a:gd name="connsiteY21" fmla="*/ 690562 h 728705"/>
              <a:gd name="connsiteX22" fmla="*/ 214313 w 664369"/>
              <a:gd name="connsiteY22" fmla="*/ 728705 h 728705"/>
              <a:gd name="connsiteX23" fmla="*/ 230981 w 664369"/>
              <a:gd name="connsiteY23" fmla="*/ 671512 h 728705"/>
              <a:gd name="connsiteX24" fmla="*/ 285750 w 664369"/>
              <a:gd name="connsiteY24" fmla="*/ 650081 h 728705"/>
              <a:gd name="connsiteX25" fmla="*/ 354803 w 664369"/>
              <a:gd name="connsiteY25" fmla="*/ 628692 h 728705"/>
              <a:gd name="connsiteX26" fmla="*/ 369094 w 664369"/>
              <a:gd name="connsiteY26" fmla="*/ 602456 h 728705"/>
              <a:gd name="connsiteX27" fmla="*/ 366713 w 664369"/>
              <a:gd name="connsiteY27" fmla="*/ 564356 h 728705"/>
              <a:gd name="connsiteX28" fmla="*/ 369094 w 664369"/>
              <a:gd name="connsiteY28" fmla="*/ 533400 h 728705"/>
              <a:gd name="connsiteX29" fmla="*/ 373856 w 664369"/>
              <a:gd name="connsiteY29" fmla="*/ 502444 h 728705"/>
              <a:gd name="connsiteX30" fmla="*/ 381000 w 664369"/>
              <a:gd name="connsiteY30" fmla="*/ 478631 h 728705"/>
              <a:gd name="connsiteX31" fmla="*/ 407194 w 664369"/>
              <a:gd name="connsiteY31" fmla="*/ 440531 h 728705"/>
              <a:gd name="connsiteX32" fmla="*/ 428625 w 664369"/>
              <a:gd name="connsiteY32" fmla="*/ 390525 h 728705"/>
              <a:gd name="connsiteX33" fmla="*/ 428625 w 664369"/>
              <a:gd name="connsiteY33" fmla="*/ 390525 h 728705"/>
              <a:gd name="connsiteX34" fmla="*/ 476250 w 664369"/>
              <a:gd name="connsiteY34" fmla="*/ 359569 h 728705"/>
              <a:gd name="connsiteX35" fmla="*/ 502444 w 664369"/>
              <a:gd name="connsiteY35" fmla="*/ 335756 h 728705"/>
              <a:gd name="connsiteX36" fmla="*/ 507206 w 664369"/>
              <a:gd name="connsiteY36" fmla="*/ 297656 h 728705"/>
              <a:gd name="connsiteX37" fmla="*/ 573881 w 664369"/>
              <a:gd name="connsiteY37" fmla="*/ 192881 h 728705"/>
              <a:gd name="connsiteX38" fmla="*/ 571500 w 664369"/>
              <a:gd name="connsiteY38" fmla="*/ 173831 h 728705"/>
              <a:gd name="connsiteX39" fmla="*/ 573881 w 664369"/>
              <a:gd name="connsiteY39" fmla="*/ 164306 h 728705"/>
              <a:gd name="connsiteX40" fmla="*/ 614363 w 664369"/>
              <a:gd name="connsiteY40" fmla="*/ 154781 h 728705"/>
              <a:gd name="connsiteX41" fmla="*/ 628650 w 664369"/>
              <a:gd name="connsiteY41" fmla="*/ 164306 h 728705"/>
              <a:gd name="connsiteX42" fmla="*/ 647700 w 664369"/>
              <a:gd name="connsiteY42" fmla="*/ 166687 h 728705"/>
              <a:gd name="connsiteX43" fmla="*/ 659606 w 664369"/>
              <a:gd name="connsiteY43" fmla="*/ 138112 h 728705"/>
              <a:gd name="connsiteX44" fmla="*/ 664369 w 664369"/>
              <a:gd name="connsiteY44" fmla="*/ 123825 h 728705"/>
              <a:gd name="connsiteX45" fmla="*/ 645319 w 664369"/>
              <a:gd name="connsiteY45" fmla="*/ 109537 h 728705"/>
              <a:gd name="connsiteX46" fmla="*/ 642938 w 664369"/>
              <a:gd name="connsiteY46" fmla="*/ 97631 h 728705"/>
              <a:gd name="connsiteX47" fmla="*/ 621506 w 664369"/>
              <a:gd name="connsiteY47" fmla="*/ 88106 h 728705"/>
              <a:gd name="connsiteX48" fmla="*/ 590550 w 664369"/>
              <a:gd name="connsiteY48" fmla="*/ 92869 h 728705"/>
              <a:gd name="connsiteX49" fmla="*/ 573881 w 664369"/>
              <a:gd name="connsiteY49" fmla="*/ 109537 h 728705"/>
              <a:gd name="connsiteX50" fmla="*/ 564356 w 664369"/>
              <a:gd name="connsiteY50" fmla="*/ 121444 h 728705"/>
              <a:gd name="connsiteX51" fmla="*/ 547688 w 664369"/>
              <a:gd name="connsiteY51" fmla="*/ 130969 h 728705"/>
              <a:gd name="connsiteX52" fmla="*/ 528638 w 664369"/>
              <a:gd name="connsiteY52" fmla="*/ 138112 h 728705"/>
              <a:gd name="connsiteX53" fmla="*/ 516731 w 664369"/>
              <a:gd name="connsiteY53" fmla="*/ 133350 h 728705"/>
              <a:gd name="connsiteX54" fmla="*/ 502444 w 664369"/>
              <a:gd name="connsiteY54" fmla="*/ 133350 h 728705"/>
              <a:gd name="connsiteX55" fmla="*/ 495300 w 664369"/>
              <a:gd name="connsiteY55" fmla="*/ 126206 h 728705"/>
              <a:gd name="connsiteX56" fmla="*/ 478631 w 664369"/>
              <a:gd name="connsiteY56" fmla="*/ 169069 h 728705"/>
              <a:gd name="connsiteX57" fmla="*/ 469106 w 664369"/>
              <a:gd name="connsiteY57" fmla="*/ 178594 h 728705"/>
              <a:gd name="connsiteX58" fmla="*/ 459581 w 664369"/>
              <a:gd name="connsiteY58" fmla="*/ 178594 h 728705"/>
              <a:gd name="connsiteX59" fmla="*/ 459581 w 664369"/>
              <a:gd name="connsiteY59" fmla="*/ 178594 h 728705"/>
              <a:gd name="connsiteX60" fmla="*/ 445294 w 664369"/>
              <a:gd name="connsiteY60" fmla="*/ 192881 h 728705"/>
              <a:gd name="connsiteX61" fmla="*/ 431006 w 664369"/>
              <a:gd name="connsiteY61" fmla="*/ 204787 h 728705"/>
              <a:gd name="connsiteX62" fmla="*/ 421481 w 664369"/>
              <a:gd name="connsiteY62" fmla="*/ 211931 h 728705"/>
              <a:gd name="connsiteX63" fmla="*/ 411956 w 664369"/>
              <a:gd name="connsiteY63" fmla="*/ 190500 h 728705"/>
              <a:gd name="connsiteX64" fmla="*/ 397669 w 664369"/>
              <a:gd name="connsiteY64" fmla="*/ 169069 h 728705"/>
              <a:gd name="connsiteX65" fmla="*/ 385763 w 664369"/>
              <a:gd name="connsiteY65" fmla="*/ 150019 h 728705"/>
              <a:gd name="connsiteX66" fmla="*/ 247650 w 664369"/>
              <a:gd name="connsiteY66" fmla="*/ 185737 h 728705"/>
              <a:gd name="connsiteX67" fmla="*/ 202406 w 664369"/>
              <a:gd name="connsiteY67" fmla="*/ 0 h 728705"/>
              <a:gd name="connsiteX68" fmla="*/ 190500 w 664369"/>
              <a:gd name="connsiteY68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80963 w 664369"/>
              <a:gd name="connsiteY11" fmla="*/ 397669 h 728705"/>
              <a:gd name="connsiteX12" fmla="*/ 69056 w 664369"/>
              <a:gd name="connsiteY12" fmla="*/ 37385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214313 w 664369"/>
              <a:gd name="connsiteY21" fmla="*/ 728705 h 728705"/>
              <a:gd name="connsiteX22" fmla="*/ 230981 w 664369"/>
              <a:gd name="connsiteY22" fmla="*/ 671512 h 728705"/>
              <a:gd name="connsiteX23" fmla="*/ 285750 w 664369"/>
              <a:gd name="connsiteY23" fmla="*/ 650081 h 728705"/>
              <a:gd name="connsiteX24" fmla="*/ 354803 w 664369"/>
              <a:gd name="connsiteY24" fmla="*/ 628692 h 728705"/>
              <a:gd name="connsiteX25" fmla="*/ 369094 w 664369"/>
              <a:gd name="connsiteY25" fmla="*/ 602456 h 728705"/>
              <a:gd name="connsiteX26" fmla="*/ 366713 w 664369"/>
              <a:gd name="connsiteY26" fmla="*/ 564356 h 728705"/>
              <a:gd name="connsiteX27" fmla="*/ 369094 w 664369"/>
              <a:gd name="connsiteY27" fmla="*/ 533400 h 728705"/>
              <a:gd name="connsiteX28" fmla="*/ 373856 w 664369"/>
              <a:gd name="connsiteY28" fmla="*/ 502444 h 728705"/>
              <a:gd name="connsiteX29" fmla="*/ 381000 w 664369"/>
              <a:gd name="connsiteY29" fmla="*/ 478631 h 728705"/>
              <a:gd name="connsiteX30" fmla="*/ 407194 w 664369"/>
              <a:gd name="connsiteY30" fmla="*/ 440531 h 728705"/>
              <a:gd name="connsiteX31" fmla="*/ 428625 w 664369"/>
              <a:gd name="connsiteY31" fmla="*/ 390525 h 728705"/>
              <a:gd name="connsiteX32" fmla="*/ 428625 w 664369"/>
              <a:gd name="connsiteY32" fmla="*/ 390525 h 728705"/>
              <a:gd name="connsiteX33" fmla="*/ 476250 w 664369"/>
              <a:gd name="connsiteY33" fmla="*/ 359569 h 728705"/>
              <a:gd name="connsiteX34" fmla="*/ 502444 w 664369"/>
              <a:gd name="connsiteY34" fmla="*/ 335756 h 728705"/>
              <a:gd name="connsiteX35" fmla="*/ 507206 w 664369"/>
              <a:gd name="connsiteY35" fmla="*/ 297656 h 728705"/>
              <a:gd name="connsiteX36" fmla="*/ 573881 w 664369"/>
              <a:gd name="connsiteY36" fmla="*/ 192881 h 728705"/>
              <a:gd name="connsiteX37" fmla="*/ 571500 w 664369"/>
              <a:gd name="connsiteY37" fmla="*/ 173831 h 728705"/>
              <a:gd name="connsiteX38" fmla="*/ 573881 w 664369"/>
              <a:gd name="connsiteY38" fmla="*/ 164306 h 728705"/>
              <a:gd name="connsiteX39" fmla="*/ 614363 w 664369"/>
              <a:gd name="connsiteY39" fmla="*/ 154781 h 728705"/>
              <a:gd name="connsiteX40" fmla="*/ 628650 w 664369"/>
              <a:gd name="connsiteY40" fmla="*/ 164306 h 728705"/>
              <a:gd name="connsiteX41" fmla="*/ 647700 w 664369"/>
              <a:gd name="connsiteY41" fmla="*/ 166687 h 728705"/>
              <a:gd name="connsiteX42" fmla="*/ 659606 w 664369"/>
              <a:gd name="connsiteY42" fmla="*/ 138112 h 728705"/>
              <a:gd name="connsiteX43" fmla="*/ 664369 w 664369"/>
              <a:gd name="connsiteY43" fmla="*/ 123825 h 728705"/>
              <a:gd name="connsiteX44" fmla="*/ 645319 w 664369"/>
              <a:gd name="connsiteY44" fmla="*/ 109537 h 728705"/>
              <a:gd name="connsiteX45" fmla="*/ 642938 w 664369"/>
              <a:gd name="connsiteY45" fmla="*/ 97631 h 728705"/>
              <a:gd name="connsiteX46" fmla="*/ 621506 w 664369"/>
              <a:gd name="connsiteY46" fmla="*/ 88106 h 728705"/>
              <a:gd name="connsiteX47" fmla="*/ 590550 w 664369"/>
              <a:gd name="connsiteY47" fmla="*/ 92869 h 728705"/>
              <a:gd name="connsiteX48" fmla="*/ 573881 w 664369"/>
              <a:gd name="connsiteY48" fmla="*/ 109537 h 728705"/>
              <a:gd name="connsiteX49" fmla="*/ 564356 w 664369"/>
              <a:gd name="connsiteY49" fmla="*/ 121444 h 728705"/>
              <a:gd name="connsiteX50" fmla="*/ 547688 w 664369"/>
              <a:gd name="connsiteY50" fmla="*/ 130969 h 728705"/>
              <a:gd name="connsiteX51" fmla="*/ 528638 w 664369"/>
              <a:gd name="connsiteY51" fmla="*/ 138112 h 728705"/>
              <a:gd name="connsiteX52" fmla="*/ 516731 w 664369"/>
              <a:gd name="connsiteY52" fmla="*/ 133350 h 728705"/>
              <a:gd name="connsiteX53" fmla="*/ 502444 w 664369"/>
              <a:gd name="connsiteY53" fmla="*/ 133350 h 728705"/>
              <a:gd name="connsiteX54" fmla="*/ 495300 w 664369"/>
              <a:gd name="connsiteY54" fmla="*/ 126206 h 728705"/>
              <a:gd name="connsiteX55" fmla="*/ 478631 w 664369"/>
              <a:gd name="connsiteY55" fmla="*/ 169069 h 728705"/>
              <a:gd name="connsiteX56" fmla="*/ 469106 w 664369"/>
              <a:gd name="connsiteY56" fmla="*/ 178594 h 728705"/>
              <a:gd name="connsiteX57" fmla="*/ 459581 w 664369"/>
              <a:gd name="connsiteY57" fmla="*/ 178594 h 728705"/>
              <a:gd name="connsiteX58" fmla="*/ 459581 w 664369"/>
              <a:gd name="connsiteY58" fmla="*/ 178594 h 728705"/>
              <a:gd name="connsiteX59" fmla="*/ 445294 w 664369"/>
              <a:gd name="connsiteY59" fmla="*/ 192881 h 728705"/>
              <a:gd name="connsiteX60" fmla="*/ 431006 w 664369"/>
              <a:gd name="connsiteY60" fmla="*/ 204787 h 728705"/>
              <a:gd name="connsiteX61" fmla="*/ 421481 w 664369"/>
              <a:gd name="connsiteY61" fmla="*/ 211931 h 728705"/>
              <a:gd name="connsiteX62" fmla="*/ 411956 w 664369"/>
              <a:gd name="connsiteY62" fmla="*/ 190500 h 728705"/>
              <a:gd name="connsiteX63" fmla="*/ 397669 w 664369"/>
              <a:gd name="connsiteY63" fmla="*/ 169069 h 728705"/>
              <a:gd name="connsiteX64" fmla="*/ 385763 w 664369"/>
              <a:gd name="connsiteY64" fmla="*/ 150019 h 728705"/>
              <a:gd name="connsiteX65" fmla="*/ 247650 w 664369"/>
              <a:gd name="connsiteY65" fmla="*/ 185737 h 728705"/>
              <a:gd name="connsiteX66" fmla="*/ 202406 w 664369"/>
              <a:gd name="connsiteY66" fmla="*/ 0 h 728705"/>
              <a:gd name="connsiteX67" fmla="*/ 190500 w 664369"/>
              <a:gd name="connsiteY67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80963 w 664369"/>
              <a:gd name="connsiteY11" fmla="*/ 397669 h 728705"/>
              <a:gd name="connsiteX12" fmla="*/ 76191 w 664369"/>
              <a:gd name="connsiteY12" fmla="*/ 36669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214313 w 664369"/>
              <a:gd name="connsiteY21" fmla="*/ 728705 h 728705"/>
              <a:gd name="connsiteX22" fmla="*/ 230981 w 664369"/>
              <a:gd name="connsiteY22" fmla="*/ 671512 h 728705"/>
              <a:gd name="connsiteX23" fmla="*/ 285750 w 664369"/>
              <a:gd name="connsiteY23" fmla="*/ 650081 h 728705"/>
              <a:gd name="connsiteX24" fmla="*/ 354803 w 664369"/>
              <a:gd name="connsiteY24" fmla="*/ 628692 h 728705"/>
              <a:gd name="connsiteX25" fmla="*/ 369094 w 664369"/>
              <a:gd name="connsiteY25" fmla="*/ 602456 h 728705"/>
              <a:gd name="connsiteX26" fmla="*/ 366713 w 664369"/>
              <a:gd name="connsiteY26" fmla="*/ 564356 h 728705"/>
              <a:gd name="connsiteX27" fmla="*/ 369094 w 664369"/>
              <a:gd name="connsiteY27" fmla="*/ 533400 h 728705"/>
              <a:gd name="connsiteX28" fmla="*/ 373856 w 664369"/>
              <a:gd name="connsiteY28" fmla="*/ 502444 h 728705"/>
              <a:gd name="connsiteX29" fmla="*/ 381000 w 664369"/>
              <a:gd name="connsiteY29" fmla="*/ 478631 h 728705"/>
              <a:gd name="connsiteX30" fmla="*/ 407194 w 664369"/>
              <a:gd name="connsiteY30" fmla="*/ 440531 h 728705"/>
              <a:gd name="connsiteX31" fmla="*/ 428625 w 664369"/>
              <a:gd name="connsiteY31" fmla="*/ 390525 h 728705"/>
              <a:gd name="connsiteX32" fmla="*/ 428625 w 664369"/>
              <a:gd name="connsiteY32" fmla="*/ 390525 h 728705"/>
              <a:gd name="connsiteX33" fmla="*/ 476250 w 664369"/>
              <a:gd name="connsiteY33" fmla="*/ 359569 h 728705"/>
              <a:gd name="connsiteX34" fmla="*/ 502444 w 664369"/>
              <a:gd name="connsiteY34" fmla="*/ 335756 h 728705"/>
              <a:gd name="connsiteX35" fmla="*/ 507206 w 664369"/>
              <a:gd name="connsiteY35" fmla="*/ 297656 h 728705"/>
              <a:gd name="connsiteX36" fmla="*/ 573881 w 664369"/>
              <a:gd name="connsiteY36" fmla="*/ 192881 h 728705"/>
              <a:gd name="connsiteX37" fmla="*/ 571500 w 664369"/>
              <a:gd name="connsiteY37" fmla="*/ 173831 h 728705"/>
              <a:gd name="connsiteX38" fmla="*/ 573881 w 664369"/>
              <a:gd name="connsiteY38" fmla="*/ 164306 h 728705"/>
              <a:gd name="connsiteX39" fmla="*/ 614363 w 664369"/>
              <a:gd name="connsiteY39" fmla="*/ 154781 h 728705"/>
              <a:gd name="connsiteX40" fmla="*/ 628650 w 664369"/>
              <a:gd name="connsiteY40" fmla="*/ 164306 h 728705"/>
              <a:gd name="connsiteX41" fmla="*/ 647700 w 664369"/>
              <a:gd name="connsiteY41" fmla="*/ 166687 h 728705"/>
              <a:gd name="connsiteX42" fmla="*/ 659606 w 664369"/>
              <a:gd name="connsiteY42" fmla="*/ 138112 h 728705"/>
              <a:gd name="connsiteX43" fmla="*/ 664369 w 664369"/>
              <a:gd name="connsiteY43" fmla="*/ 123825 h 728705"/>
              <a:gd name="connsiteX44" fmla="*/ 645319 w 664369"/>
              <a:gd name="connsiteY44" fmla="*/ 109537 h 728705"/>
              <a:gd name="connsiteX45" fmla="*/ 642938 w 664369"/>
              <a:gd name="connsiteY45" fmla="*/ 97631 h 728705"/>
              <a:gd name="connsiteX46" fmla="*/ 621506 w 664369"/>
              <a:gd name="connsiteY46" fmla="*/ 88106 h 728705"/>
              <a:gd name="connsiteX47" fmla="*/ 590550 w 664369"/>
              <a:gd name="connsiteY47" fmla="*/ 92869 h 728705"/>
              <a:gd name="connsiteX48" fmla="*/ 573881 w 664369"/>
              <a:gd name="connsiteY48" fmla="*/ 109537 h 728705"/>
              <a:gd name="connsiteX49" fmla="*/ 564356 w 664369"/>
              <a:gd name="connsiteY49" fmla="*/ 121444 h 728705"/>
              <a:gd name="connsiteX50" fmla="*/ 547688 w 664369"/>
              <a:gd name="connsiteY50" fmla="*/ 130969 h 728705"/>
              <a:gd name="connsiteX51" fmla="*/ 528638 w 664369"/>
              <a:gd name="connsiteY51" fmla="*/ 138112 h 728705"/>
              <a:gd name="connsiteX52" fmla="*/ 516731 w 664369"/>
              <a:gd name="connsiteY52" fmla="*/ 133350 h 728705"/>
              <a:gd name="connsiteX53" fmla="*/ 502444 w 664369"/>
              <a:gd name="connsiteY53" fmla="*/ 133350 h 728705"/>
              <a:gd name="connsiteX54" fmla="*/ 495300 w 664369"/>
              <a:gd name="connsiteY54" fmla="*/ 126206 h 728705"/>
              <a:gd name="connsiteX55" fmla="*/ 478631 w 664369"/>
              <a:gd name="connsiteY55" fmla="*/ 169069 h 728705"/>
              <a:gd name="connsiteX56" fmla="*/ 469106 w 664369"/>
              <a:gd name="connsiteY56" fmla="*/ 178594 h 728705"/>
              <a:gd name="connsiteX57" fmla="*/ 459581 w 664369"/>
              <a:gd name="connsiteY57" fmla="*/ 178594 h 728705"/>
              <a:gd name="connsiteX58" fmla="*/ 459581 w 664369"/>
              <a:gd name="connsiteY58" fmla="*/ 178594 h 728705"/>
              <a:gd name="connsiteX59" fmla="*/ 445294 w 664369"/>
              <a:gd name="connsiteY59" fmla="*/ 192881 h 728705"/>
              <a:gd name="connsiteX60" fmla="*/ 431006 w 664369"/>
              <a:gd name="connsiteY60" fmla="*/ 204787 h 728705"/>
              <a:gd name="connsiteX61" fmla="*/ 421481 w 664369"/>
              <a:gd name="connsiteY61" fmla="*/ 211931 h 728705"/>
              <a:gd name="connsiteX62" fmla="*/ 411956 w 664369"/>
              <a:gd name="connsiteY62" fmla="*/ 190500 h 728705"/>
              <a:gd name="connsiteX63" fmla="*/ 397669 w 664369"/>
              <a:gd name="connsiteY63" fmla="*/ 169069 h 728705"/>
              <a:gd name="connsiteX64" fmla="*/ 385763 w 664369"/>
              <a:gd name="connsiteY64" fmla="*/ 150019 h 728705"/>
              <a:gd name="connsiteX65" fmla="*/ 247650 w 664369"/>
              <a:gd name="connsiteY65" fmla="*/ 185737 h 728705"/>
              <a:gd name="connsiteX66" fmla="*/ 202406 w 664369"/>
              <a:gd name="connsiteY66" fmla="*/ 0 h 728705"/>
              <a:gd name="connsiteX67" fmla="*/ 190500 w 664369"/>
              <a:gd name="connsiteY67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133288 w 664369"/>
              <a:gd name="connsiteY11" fmla="*/ 443014 h 728705"/>
              <a:gd name="connsiteX12" fmla="*/ 76191 w 664369"/>
              <a:gd name="connsiteY12" fmla="*/ 366696 h 728705"/>
              <a:gd name="connsiteX13" fmla="*/ 45244 w 664369"/>
              <a:gd name="connsiteY13" fmla="*/ 385762 h 728705"/>
              <a:gd name="connsiteX14" fmla="*/ 45244 w 664369"/>
              <a:gd name="connsiteY14" fmla="*/ 426244 h 728705"/>
              <a:gd name="connsiteX15" fmla="*/ 52388 w 664369"/>
              <a:gd name="connsiteY15" fmla="*/ 442912 h 728705"/>
              <a:gd name="connsiteX16" fmla="*/ 0 w 664369"/>
              <a:gd name="connsiteY16" fmla="*/ 507206 h 728705"/>
              <a:gd name="connsiteX17" fmla="*/ 33338 w 664369"/>
              <a:gd name="connsiteY17" fmla="*/ 611981 h 728705"/>
              <a:gd name="connsiteX18" fmla="*/ 88106 w 664369"/>
              <a:gd name="connsiteY18" fmla="*/ 647700 h 728705"/>
              <a:gd name="connsiteX19" fmla="*/ 104775 w 664369"/>
              <a:gd name="connsiteY19" fmla="*/ 642937 h 728705"/>
              <a:gd name="connsiteX20" fmla="*/ 152400 w 664369"/>
              <a:gd name="connsiteY20" fmla="*/ 690562 h 728705"/>
              <a:gd name="connsiteX21" fmla="*/ 214313 w 664369"/>
              <a:gd name="connsiteY21" fmla="*/ 728705 h 728705"/>
              <a:gd name="connsiteX22" fmla="*/ 230981 w 664369"/>
              <a:gd name="connsiteY22" fmla="*/ 671512 h 728705"/>
              <a:gd name="connsiteX23" fmla="*/ 285750 w 664369"/>
              <a:gd name="connsiteY23" fmla="*/ 650081 h 728705"/>
              <a:gd name="connsiteX24" fmla="*/ 354803 w 664369"/>
              <a:gd name="connsiteY24" fmla="*/ 628692 h 728705"/>
              <a:gd name="connsiteX25" fmla="*/ 369094 w 664369"/>
              <a:gd name="connsiteY25" fmla="*/ 602456 h 728705"/>
              <a:gd name="connsiteX26" fmla="*/ 366713 w 664369"/>
              <a:gd name="connsiteY26" fmla="*/ 564356 h 728705"/>
              <a:gd name="connsiteX27" fmla="*/ 369094 w 664369"/>
              <a:gd name="connsiteY27" fmla="*/ 533400 h 728705"/>
              <a:gd name="connsiteX28" fmla="*/ 373856 w 664369"/>
              <a:gd name="connsiteY28" fmla="*/ 502444 h 728705"/>
              <a:gd name="connsiteX29" fmla="*/ 381000 w 664369"/>
              <a:gd name="connsiteY29" fmla="*/ 478631 h 728705"/>
              <a:gd name="connsiteX30" fmla="*/ 407194 w 664369"/>
              <a:gd name="connsiteY30" fmla="*/ 440531 h 728705"/>
              <a:gd name="connsiteX31" fmla="*/ 428625 w 664369"/>
              <a:gd name="connsiteY31" fmla="*/ 390525 h 728705"/>
              <a:gd name="connsiteX32" fmla="*/ 428625 w 664369"/>
              <a:gd name="connsiteY32" fmla="*/ 390525 h 728705"/>
              <a:gd name="connsiteX33" fmla="*/ 476250 w 664369"/>
              <a:gd name="connsiteY33" fmla="*/ 359569 h 728705"/>
              <a:gd name="connsiteX34" fmla="*/ 502444 w 664369"/>
              <a:gd name="connsiteY34" fmla="*/ 335756 h 728705"/>
              <a:gd name="connsiteX35" fmla="*/ 507206 w 664369"/>
              <a:gd name="connsiteY35" fmla="*/ 297656 h 728705"/>
              <a:gd name="connsiteX36" fmla="*/ 573881 w 664369"/>
              <a:gd name="connsiteY36" fmla="*/ 192881 h 728705"/>
              <a:gd name="connsiteX37" fmla="*/ 571500 w 664369"/>
              <a:gd name="connsiteY37" fmla="*/ 173831 h 728705"/>
              <a:gd name="connsiteX38" fmla="*/ 573881 w 664369"/>
              <a:gd name="connsiteY38" fmla="*/ 164306 h 728705"/>
              <a:gd name="connsiteX39" fmla="*/ 614363 w 664369"/>
              <a:gd name="connsiteY39" fmla="*/ 154781 h 728705"/>
              <a:gd name="connsiteX40" fmla="*/ 628650 w 664369"/>
              <a:gd name="connsiteY40" fmla="*/ 164306 h 728705"/>
              <a:gd name="connsiteX41" fmla="*/ 647700 w 664369"/>
              <a:gd name="connsiteY41" fmla="*/ 166687 h 728705"/>
              <a:gd name="connsiteX42" fmla="*/ 659606 w 664369"/>
              <a:gd name="connsiteY42" fmla="*/ 138112 h 728705"/>
              <a:gd name="connsiteX43" fmla="*/ 664369 w 664369"/>
              <a:gd name="connsiteY43" fmla="*/ 123825 h 728705"/>
              <a:gd name="connsiteX44" fmla="*/ 645319 w 664369"/>
              <a:gd name="connsiteY44" fmla="*/ 109537 h 728705"/>
              <a:gd name="connsiteX45" fmla="*/ 642938 w 664369"/>
              <a:gd name="connsiteY45" fmla="*/ 97631 h 728705"/>
              <a:gd name="connsiteX46" fmla="*/ 621506 w 664369"/>
              <a:gd name="connsiteY46" fmla="*/ 88106 h 728705"/>
              <a:gd name="connsiteX47" fmla="*/ 590550 w 664369"/>
              <a:gd name="connsiteY47" fmla="*/ 92869 h 728705"/>
              <a:gd name="connsiteX48" fmla="*/ 573881 w 664369"/>
              <a:gd name="connsiteY48" fmla="*/ 109537 h 728705"/>
              <a:gd name="connsiteX49" fmla="*/ 564356 w 664369"/>
              <a:gd name="connsiteY49" fmla="*/ 121444 h 728705"/>
              <a:gd name="connsiteX50" fmla="*/ 547688 w 664369"/>
              <a:gd name="connsiteY50" fmla="*/ 130969 h 728705"/>
              <a:gd name="connsiteX51" fmla="*/ 528638 w 664369"/>
              <a:gd name="connsiteY51" fmla="*/ 138112 h 728705"/>
              <a:gd name="connsiteX52" fmla="*/ 516731 w 664369"/>
              <a:gd name="connsiteY52" fmla="*/ 133350 h 728705"/>
              <a:gd name="connsiteX53" fmla="*/ 502444 w 664369"/>
              <a:gd name="connsiteY53" fmla="*/ 133350 h 728705"/>
              <a:gd name="connsiteX54" fmla="*/ 495300 w 664369"/>
              <a:gd name="connsiteY54" fmla="*/ 126206 h 728705"/>
              <a:gd name="connsiteX55" fmla="*/ 478631 w 664369"/>
              <a:gd name="connsiteY55" fmla="*/ 169069 h 728705"/>
              <a:gd name="connsiteX56" fmla="*/ 469106 w 664369"/>
              <a:gd name="connsiteY56" fmla="*/ 178594 h 728705"/>
              <a:gd name="connsiteX57" fmla="*/ 459581 w 664369"/>
              <a:gd name="connsiteY57" fmla="*/ 178594 h 728705"/>
              <a:gd name="connsiteX58" fmla="*/ 459581 w 664369"/>
              <a:gd name="connsiteY58" fmla="*/ 178594 h 728705"/>
              <a:gd name="connsiteX59" fmla="*/ 445294 w 664369"/>
              <a:gd name="connsiteY59" fmla="*/ 192881 h 728705"/>
              <a:gd name="connsiteX60" fmla="*/ 431006 w 664369"/>
              <a:gd name="connsiteY60" fmla="*/ 204787 h 728705"/>
              <a:gd name="connsiteX61" fmla="*/ 421481 w 664369"/>
              <a:gd name="connsiteY61" fmla="*/ 211931 h 728705"/>
              <a:gd name="connsiteX62" fmla="*/ 411956 w 664369"/>
              <a:gd name="connsiteY62" fmla="*/ 190500 h 728705"/>
              <a:gd name="connsiteX63" fmla="*/ 397669 w 664369"/>
              <a:gd name="connsiteY63" fmla="*/ 169069 h 728705"/>
              <a:gd name="connsiteX64" fmla="*/ 385763 w 664369"/>
              <a:gd name="connsiteY64" fmla="*/ 150019 h 728705"/>
              <a:gd name="connsiteX65" fmla="*/ 247650 w 664369"/>
              <a:gd name="connsiteY65" fmla="*/ 185737 h 728705"/>
              <a:gd name="connsiteX66" fmla="*/ 202406 w 664369"/>
              <a:gd name="connsiteY66" fmla="*/ 0 h 728705"/>
              <a:gd name="connsiteX67" fmla="*/ 190500 w 664369"/>
              <a:gd name="connsiteY67" fmla="*/ 4762 h 728705"/>
              <a:gd name="connsiteX0" fmla="*/ 190500 w 664369"/>
              <a:gd name="connsiteY0" fmla="*/ 4762 h 728705"/>
              <a:gd name="connsiteX1" fmla="*/ 195263 w 664369"/>
              <a:gd name="connsiteY1" fmla="*/ 78581 h 728705"/>
              <a:gd name="connsiteX2" fmla="*/ 195263 w 664369"/>
              <a:gd name="connsiteY2" fmla="*/ 183356 h 728705"/>
              <a:gd name="connsiteX3" fmla="*/ 147638 w 664369"/>
              <a:gd name="connsiteY3" fmla="*/ 269081 h 728705"/>
              <a:gd name="connsiteX4" fmla="*/ 111919 w 664369"/>
              <a:gd name="connsiteY4" fmla="*/ 290512 h 728705"/>
              <a:gd name="connsiteX5" fmla="*/ 92869 w 664369"/>
              <a:gd name="connsiteY5" fmla="*/ 302419 h 728705"/>
              <a:gd name="connsiteX6" fmla="*/ 90488 w 664369"/>
              <a:gd name="connsiteY6" fmla="*/ 330994 h 728705"/>
              <a:gd name="connsiteX7" fmla="*/ 102394 w 664369"/>
              <a:gd name="connsiteY7" fmla="*/ 335756 h 728705"/>
              <a:gd name="connsiteX8" fmla="*/ 100013 w 664369"/>
              <a:gd name="connsiteY8" fmla="*/ 359569 h 728705"/>
              <a:gd name="connsiteX9" fmla="*/ 104775 w 664369"/>
              <a:gd name="connsiteY9" fmla="*/ 373856 h 728705"/>
              <a:gd name="connsiteX10" fmla="*/ 83344 w 664369"/>
              <a:gd name="connsiteY10" fmla="*/ 392906 h 728705"/>
              <a:gd name="connsiteX11" fmla="*/ 76191 w 664369"/>
              <a:gd name="connsiteY11" fmla="*/ 366696 h 728705"/>
              <a:gd name="connsiteX12" fmla="*/ 45244 w 664369"/>
              <a:gd name="connsiteY12" fmla="*/ 385762 h 728705"/>
              <a:gd name="connsiteX13" fmla="*/ 45244 w 664369"/>
              <a:gd name="connsiteY13" fmla="*/ 426244 h 728705"/>
              <a:gd name="connsiteX14" fmla="*/ 52388 w 664369"/>
              <a:gd name="connsiteY14" fmla="*/ 442912 h 728705"/>
              <a:gd name="connsiteX15" fmla="*/ 0 w 664369"/>
              <a:gd name="connsiteY15" fmla="*/ 507206 h 728705"/>
              <a:gd name="connsiteX16" fmla="*/ 33338 w 664369"/>
              <a:gd name="connsiteY16" fmla="*/ 611981 h 728705"/>
              <a:gd name="connsiteX17" fmla="*/ 88106 w 664369"/>
              <a:gd name="connsiteY17" fmla="*/ 647700 h 728705"/>
              <a:gd name="connsiteX18" fmla="*/ 104775 w 664369"/>
              <a:gd name="connsiteY18" fmla="*/ 642937 h 728705"/>
              <a:gd name="connsiteX19" fmla="*/ 152400 w 664369"/>
              <a:gd name="connsiteY19" fmla="*/ 690562 h 728705"/>
              <a:gd name="connsiteX20" fmla="*/ 214313 w 664369"/>
              <a:gd name="connsiteY20" fmla="*/ 728705 h 728705"/>
              <a:gd name="connsiteX21" fmla="*/ 230981 w 664369"/>
              <a:gd name="connsiteY21" fmla="*/ 671512 h 728705"/>
              <a:gd name="connsiteX22" fmla="*/ 285750 w 664369"/>
              <a:gd name="connsiteY22" fmla="*/ 650081 h 728705"/>
              <a:gd name="connsiteX23" fmla="*/ 354803 w 664369"/>
              <a:gd name="connsiteY23" fmla="*/ 628692 h 728705"/>
              <a:gd name="connsiteX24" fmla="*/ 369094 w 664369"/>
              <a:gd name="connsiteY24" fmla="*/ 602456 h 728705"/>
              <a:gd name="connsiteX25" fmla="*/ 366713 w 664369"/>
              <a:gd name="connsiteY25" fmla="*/ 564356 h 728705"/>
              <a:gd name="connsiteX26" fmla="*/ 369094 w 664369"/>
              <a:gd name="connsiteY26" fmla="*/ 533400 h 728705"/>
              <a:gd name="connsiteX27" fmla="*/ 373856 w 664369"/>
              <a:gd name="connsiteY27" fmla="*/ 502444 h 728705"/>
              <a:gd name="connsiteX28" fmla="*/ 381000 w 664369"/>
              <a:gd name="connsiteY28" fmla="*/ 478631 h 728705"/>
              <a:gd name="connsiteX29" fmla="*/ 407194 w 664369"/>
              <a:gd name="connsiteY29" fmla="*/ 440531 h 728705"/>
              <a:gd name="connsiteX30" fmla="*/ 428625 w 664369"/>
              <a:gd name="connsiteY30" fmla="*/ 390525 h 728705"/>
              <a:gd name="connsiteX31" fmla="*/ 428625 w 664369"/>
              <a:gd name="connsiteY31" fmla="*/ 390525 h 728705"/>
              <a:gd name="connsiteX32" fmla="*/ 476250 w 664369"/>
              <a:gd name="connsiteY32" fmla="*/ 359569 h 728705"/>
              <a:gd name="connsiteX33" fmla="*/ 502444 w 664369"/>
              <a:gd name="connsiteY33" fmla="*/ 335756 h 728705"/>
              <a:gd name="connsiteX34" fmla="*/ 507206 w 664369"/>
              <a:gd name="connsiteY34" fmla="*/ 297656 h 728705"/>
              <a:gd name="connsiteX35" fmla="*/ 573881 w 664369"/>
              <a:gd name="connsiteY35" fmla="*/ 192881 h 728705"/>
              <a:gd name="connsiteX36" fmla="*/ 571500 w 664369"/>
              <a:gd name="connsiteY36" fmla="*/ 173831 h 728705"/>
              <a:gd name="connsiteX37" fmla="*/ 573881 w 664369"/>
              <a:gd name="connsiteY37" fmla="*/ 164306 h 728705"/>
              <a:gd name="connsiteX38" fmla="*/ 614363 w 664369"/>
              <a:gd name="connsiteY38" fmla="*/ 154781 h 728705"/>
              <a:gd name="connsiteX39" fmla="*/ 628650 w 664369"/>
              <a:gd name="connsiteY39" fmla="*/ 164306 h 728705"/>
              <a:gd name="connsiteX40" fmla="*/ 647700 w 664369"/>
              <a:gd name="connsiteY40" fmla="*/ 166687 h 728705"/>
              <a:gd name="connsiteX41" fmla="*/ 659606 w 664369"/>
              <a:gd name="connsiteY41" fmla="*/ 138112 h 728705"/>
              <a:gd name="connsiteX42" fmla="*/ 664369 w 664369"/>
              <a:gd name="connsiteY42" fmla="*/ 123825 h 728705"/>
              <a:gd name="connsiteX43" fmla="*/ 645319 w 664369"/>
              <a:gd name="connsiteY43" fmla="*/ 109537 h 728705"/>
              <a:gd name="connsiteX44" fmla="*/ 642938 w 664369"/>
              <a:gd name="connsiteY44" fmla="*/ 97631 h 728705"/>
              <a:gd name="connsiteX45" fmla="*/ 621506 w 664369"/>
              <a:gd name="connsiteY45" fmla="*/ 88106 h 728705"/>
              <a:gd name="connsiteX46" fmla="*/ 590550 w 664369"/>
              <a:gd name="connsiteY46" fmla="*/ 92869 h 728705"/>
              <a:gd name="connsiteX47" fmla="*/ 573881 w 664369"/>
              <a:gd name="connsiteY47" fmla="*/ 109537 h 728705"/>
              <a:gd name="connsiteX48" fmla="*/ 564356 w 664369"/>
              <a:gd name="connsiteY48" fmla="*/ 121444 h 728705"/>
              <a:gd name="connsiteX49" fmla="*/ 547688 w 664369"/>
              <a:gd name="connsiteY49" fmla="*/ 130969 h 728705"/>
              <a:gd name="connsiteX50" fmla="*/ 528638 w 664369"/>
              <a:gd name="connsiteY50" fmla="*/ 138112 h 728705"/>
              <a:gd name="connsiteX51" fmla="*/ 516731 w 664369"/>
              <a:gd name="connsiteY51" fmla="*/ 133350 h 728705"/>
              <a:gd name="connsiteX52" fmla="*/ 502444 w 664369"/>
              <a:gd name="connsiteY52" fmla="*/ 133350 h 728705"/>
              <a:gd name="connsiteX53" fmla="*/ 495300 w 664369"/>
              <a:gd name="connsiteY53" fmla="*/ 126206 h 728705"/>
              <a:gd name="connsiteX54" fmla="*/ 478631 w 664369"/>
              <a:gd name="connsiteY54" fmla="*/ 169069 h 728705"/>
              <a:gd name="connsiteX55" fmla="*/ 469106 w 664369"/>
              <a:gd name="connsiteY55" fmla="*/ 178594 h 728705"/>
              <a:gd name="connsiteX56" fmla="*/ 459581 w 664369"/>
              <a:gd name="connsiteY56" fmla="*/ 178594 h 728705"/>
              <a:gd name="connsiteX57" fmla="*/ 459581 w 664369"/>
              <a:gd name="connsiteY57" fmla="*/ 178594 h 728705"/>
              <a:gd name="connsiteX58" fmla="*/ 445294 w 664369"/>
              <a:gd name="connsiteY58" fmla="*/ 192881 h 728705"/>
              <a:gd name="connsiteX59" fmla="*/ 431006 w 664369"/>
              <a:gd name="connsiteY59" fmla="*/ 204787 h 728705"/>
              <a:gd name="connsiteX60" fmla="*/ 421481 w 664369"/>
              <a:gd name="connsiteY60" fmla="*/ 211931 h 728705"/>
              <a:gd name="connsiteX61" fmla="*/ 411956 w 664369"/>
              <a:gd name="connsiteY61" fmla="*/ 190500 h 728705"/>
              <a:gd name="connsiteX62" fmla="*/ 397669 w 664369"/>
              <a:gd name="connsiteY62" fmla="*/ 169069 h 728705"/>
              <a:gd name="connsiteX63" fmla="*/ 385763 w 664369"/>
              <a:gd name="connsiteY63" fmla="*/ 150019 h 728705"/>
              <a:gd name="connsiteX64" fmla="*/ 247650 w 664369"/>
              <a:gd name="connsiteY64" fmla="*/ 185737 h 728705"/>
              <a:gd name="connsiteX65" fmla="*/ 202406 w 664369"/>
              <a:gd name="connsiteY65" fmla="*/ 0 h 728705"/>
              <a:gd name="connsiteX66" fmla="*/ 190500 w 664369"/>
              <a:gd name="connsiteY66" fmla="*/ 4762 h 728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64369" h="728705">
                <a:moveTo>
                  <a:pt x="190500" y="4762"/>
                </a:moveTo>
                <a:lnTo>
                  <a:pt x="195263" y="78581"/>
                </a:lnTo>
                <a:lnTo>
                  <a:pt x="195263" y="183356"/>
                </a:lnTo>
                <a:lnTo>
                  <a:pt x="147638" y="269081"/>
                </a:lnTo>
                <a:lnTo>
                  <a:pt x="111919" y="290512"/>
                </a:lnTo>
                <a:lnTo>
                  <a:pt x="92869" y="302419"/>
                </a:lnTo>
                <a:lnTo>
                  <a:pt x="90488" y="330994"/>
                </a:lnTo>
                <a:lnTo>
                  <a:pt x="102394" y="335756"/>
                </a:lnTo>
                <a:lnTo>
                  <a:pt x="100013" y="359569"/>
                </a:lnTo>
                <a:lnTo>
                  <a:pt x="104775" y="373856"/>
                </a:lnTo>
                <a:lnTo>
                  <a:pt x="83344" y="392906"/>
                </a:lnTo>
                <a:lnTo>
                  <a:pt x="76191" y="366696"/>
                </a:lnTo>
                <a:lnTo>
                  <a:pt x="45244" y="385762"/>
                </a:lnTo>
                <a:lnTo>
                  <a:pt x="45244" y="426244"/>
                </a:lnTo>
                <a:lnTo>
                  <a:pt x="52388" y="442912"/>
                </a:lnTo>
                <a:lnTo>
                  <a:pt x="0" y="507206"/>
                </a:lnTo>
                <a:lnTo>
                  <a:pt x="33338" y="611981"/>
                </a:lnTo>
                <a:lnTo>
                  <a:pt x="88106" y="647700"/>
                </a:lnTo>
                <a:lnTo>
                  <a:pt x="104775" y="642937"/>
                </a:lnTo>
                <a:lnTo>
                  <a:pt x="152400" y="690562"/>
                </a:lnTo>
                <a:lnTo>
                  <a:pt x="214313" y="728705"/>
                </a:lnTo>
                <a:lnTo>
                  <a:pt x="230981" y="671512"/>
                </a:lnTo>
                <a:lnTo>
                  <a:pt x="285750" y="650081"/>
                </a:lnTo>
                <a:lnTo>
                  <a:pt x="354803" y="628692"/>
                </a:lnTo>
                <a:lnTo>
                  <a:pt x="369094" y="602456"/>
                </a:lnTo>
                <a:lnTo>
                  <a:pt x="366713" y="564356"/>
                </a:lnTo>
                <a:lnTo>
                  <a:pt x="369094" y="533400"/>
                </a:lnTo>
                <a:lnTo>
                  <a:pt x="373856" y="502444"/>
                </a:lnTo>
                <a:lnTo>
                  <a:pt x="381000" y="478631"/>
                </a:lnTo>
                <a:lnTo>
                  <a:pt x="407194" y="440531"/>
                </a:lnTo>
                <a:lnTo>
                  <a:pt x="428625" y="390525"/>
                </a:lnTo>
                <a:lnTo>
                  <a:pt x="428625" y="390525"/>
                </a:lnTo>
                <a:lnTo>
                  <a:pt x="476250" y="359569"/>
                </a:lnTo>
                <a:lnTo>
                  <a:pt x="502444" y="335756"/>
                </a:lnTo>
                <a:lnTo>
                  <a:pt x="507206" y="297656"/>
                </a:lnTo>
                <a:lnTo>
                  <a:pt x="573881" y="192881"/>
                </a:lnTo>
                <a:lnTo>
                  <a:pt x="571500" y="173831"/>
                </a:lnTo>
                <a:lnTo>
                  <a:pt x="573881" y="164306"/>
                </a:lnTo>
                <a:lnTo>
                  <a:pt x="614363" y="154781"/>
                </a:lnTo>
                <a:lnTo>
                  <a:pt x="628650" y="164306"/>
                </a:lnTo>
                <a:lnTo>
                  <a:pt x="647700" y="166687"/>
                </a:lnTo>
                <a:lnTo>
                  <a:pt x="659606" y="138112"/>
                </a:lnTo>
                <a:lnTo>
                  <a:pt x="664369" y="123825"/>
                </a:lnTo>
                <a:lnTo>
                  <a:pt x="645319" y="109537"/>
                </a:lnTo>
                <a:lnTo>
                  <a:pt x="642938" y="97631"/>
                </a:lnTo>
                <a:lnTo>
                  <a:pt x="621506" y="88106"/>
                </a:lnTo>
                <a:lnTo>
                  <a:pt x="590550" y="92869"/>
                </a:lnTo>
                <a:lnTo>
                  <a:pt x="573881" y="109537"/>
                </a:lnTo>
                <a:lnTo>
                  <a:pt x="564356" y="121444"/>
                </a:lnTo>
                <a:lnTo>
                  <a:pt x="547688" y="130969"/>
                </a:lnTo>
                <a:lnTo>
                  <a:pt x="528638" y="138112"/>
                </a:lnTo>
                <a:lnTo>
                  <a:pt x="516731" y="133350"/>
                </a:lnTo>
                <a:lnTo>
                  <a:pt x="502444" y="133350"/>
                </a:lnTo>
                <a:lnTo>
                  <a:pt x="495300" y="126206"/>
                </a:lnTo>
                <a:lnTo>
                  <a:pt x="478631" y="169069"/>
                </a:lnTo>
                <a:lnTo>
                  <a:pt x="469106" y="178594"/>
                </a:lnTo>
                <a:lnTo>
                  <a:pt x="459581" y="178594"/>
                </a:lnTo>
                <a:lnTo>
                  <a:pt x="459581" y="178594"/>
                </a:lnTo>
                <a:lnTo>
                  <a:pt x="445294" y="192881"/>
                </a:lnTo>
                <a:lnTo>
                  <a:pt x="431006" y="204787"/>
                </a:lnTo>
                <a:lnTo>
                  <a:pt x="421481" y="211931"/>
                </a:lnTo>
                <a:lnTo>
                  <a:pt x="411956" y="190500"/>
                </a:lnTo>
                <a:lnTo>
                  <a:pt x="397669" y="169069"/>
                </a:lnTo>
                <a:lnTo>
                  <a:pt x="385763" y="150019"/>
                </a:lnTo>
                <a:lnTo>
                  <a:pt x="247650" y="185737"/>
                </a:lnTo>
                <a:lnTo>
                  <a:pt x="202406" y="0"/>
                </a:lnTo>
                <a:lnTo>
                  <a:pt x="190500" y="476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7216963" y="3133172"/>
            <a:ext cx="667335" cy="321738"/>
          </a:xfrm>
          <a:custGeom>
            <a:avLst/>
            <a:gdLst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2418 w 690562"/>
              <a:gd name="connsiteY13" fmla="*/ 147637 h 319087"/>
              <a:gd name="connsiteX14" fmla="*/ 328612 w 690562"/>
              <a:gd name="connsiteY14" fmla="*/ 159544 h 319087"/>
              <a:gd name="connsiteX15" fmla="*/ 350043 w 690562"/>
              <a:gd name="connsiteY15" fmla="*/ 171450 h 319087"/>
              <a:gd name="connsiteX16" fmla="*/ 369093 w 690562"/>
              <a:gd name="connsiteY16" fmla="*/ 188119 h 319087"/>
              <a:gd name="connsiteX17" fmla="*/ 397668 w 690562"/>
              <a:gd name="connsiteY17" fmla="*/ 214312 h 319087"/>
              <a:gd name="connsiteX18" fmla="*/ 402431 w 690562"/>
              <a:gd name="connsiteY18" fmla="*/ 235744 h 319087"/>
              <a:gd name="connsiteX19" fmla="*/ 400050 w 690562"/>
              <a:gd name="connsiteY19" fmla="*/ 264319 h 319087"/>
              <a:gd name="connsiteX20" fmla="*/ 388143 w 690562"/>
              <a:gd name="connsiteY20" fmla="*/ 290512 h 319087"/>
              <a:gd name="connsiteX21" fmla="*/ 409575 w 690562"/>
              <a:gd name="connsiteY21" fmla="*/ 302419 h 319087"/>
              <a:gd name="connsiteX22" fmla="*/ 419100 w 690562"/>
              <a:gd name="connsiteY22" fmla="*/ 302419 h 319087"/>
              <a:gd name="connsiteX23" fmla="*/ 438150 w 690562"/>
              <a:gd name="connsiteY23" fmla="*/ 290512 h 319087"/>
              <a:gd name="connsiteX24" fmla="*/ 454818 w 690562"/>
              <a:gd name="connsiteY24" fmla="*/ 295275 h 319087"/>
              <a:gd name="connsiteX25" fmla="*/ 473868 w 690562"/>
              <a:gd name="connsiteY25" fmla="*/ 309562 h 319087"/>
              <a:gd name="connsiteX26" fmla="*/ 507206 w 690562"/>
              <a:gd name="connsiteY26" fmla="*/ 314325 h 319087"/>
              <a:gd name="connsiteX27" fmla="*/ 523875 w 690562"/>
              <a:gd name="connsiteY27" fmla="*/ 319087 h 319087"/>
              <a:gd name="connsiteX28" fmla="*/ 526256 w 690562"/>
              <a:gd name="connsiteY28" fmla="*/ 302419 h 319087"/>
              <a:gd name="connsiteX29" fmla="*/ 535781 w 690562"/>
              <a:gd name="connsiteY29" fmla="*/ 290512 h 319087"/>
              <a:gd name="connsiteX30" fmla="*/ 528637 w 690562"/>
              <a:gd name="connsiteY30" fmla="*/ 261937 h 319087"/>
              <a:gd name="connsiteX31" fmla="*/ 509587 w 690562"/>
              <a:gd name="connsiteY31" fmla="*/ 257175 h 319087"/>
              <a:gd name="connsiteX32" fmla="*/ 490537 w 690562"/>
              <a:gd name="connsiteY32" fmla="*/ 235744 h 319087"/>
              <a:gd name="connsiteX33" fmla="*/ 481012 w 690562"/>
              <a:gd name="connsiteY33" fmla="*/ 202406 h 319087"/>
              <a:gd name="connsiteX34" fmla="*/ 461962 w 690562"/>
              <a:gd name="connsiteY34" fmla="*/ 154781 h 319087"/>
              <a:gd name="connsiteX35" fmla="*/ 457200 w 690562"/>
              <a:gd name="connsiteY35" fmla="*/ 126206 h 319087"/>
              <a:gd name="connsiteX36" fmla="*/ 457200 w 690562"/>
              <a:gd name="connsiteY36" fmla="*/ 111919 h 319087"/>
              <a:gd name="connsiteX37" fmla="*/ 469106 w 690562"/>
              <a:gd name="connsiteY37" fmla="*/ 100012 h 319087"/>
              <a:gd name="connsiteX38" fmla="*/ 476250 w 690562"/>
              <a:gd name="connsiteY38" fmla="*/ 78581 h 319087"/>
              <a:gd name="connsiteX39" fmla="*/ 497681 w 690562"/>
              <a:gd name="connsiteY39" fmla="*/ 73819 h 319087"/>
              <a:gd name="connsiteX40" fmla="*/ 500062 w 690562"/>
              <a:gd name="connsiteY40" fmla="*/ 92869 h 319087"/>
              <a:gd name="connsiteX41" fmla="*/ 495300 w 690562"/>
              <a:gd name="connsiteY41" fmla="*/ 107156 h 319087"/>
              <a:gd name="connsiteX42" fmla="*/ 509587 w 690562"/>
              <a:gd name="connsiteY42" fmla="*/ 116681 h 319087"/>
              <a:gd name="connsiteX43" fmla="*/ 509587 w 690562"/>
              <a:gd name="connsiteY43" fmla="*/ 126206 h 319087"/>
              <a:gd name="connsiteX44" fmla="*/ 504825 w 690562"/>
              <a:gd name="connsiteY44" fmla="*/ 147637 h 319087"/>
              <a:gd name="connsiteX45" fmla="*/ 502443 w 690562"/>
              <a:gd name="connsiteY45" fmla="*/ 154781 h 319087"/>
              <a:gd name="connsiteX46" fmla="*/ 523875 w 690562"/>
              <a:gd name="connsiteY46" fmla="*/ 171450 h 319087"/>
              <a:gd name="connsiteX47" fmla="*/ 531018 w 690562"/>
              <a:gd name="connsiteY47" fmla="*/ 185737 h 319087"/>
              <a:gd name="connsiteX48" fmla="*/ 545306 w 690562"/>
              <a:gd name="connsiteY48" fmla="*/ 190500 h 319087"/>
              <a:gd name="connsiteX49" fmla="*/ 531018 w 690562"/>
              <a:gd name="connsiteY49" fmla="*/ 204787 h 319087"/>
              <a:gd name="connsiteX50" fmla="*/ 528637 w 690562"/>
              <a:gd name="connsiteY50" fmla="*/ 216694 h 319087"/>
              <a:gd name="connsiteX51" fmla="*/ 547687 w 690562"/>
              <a:gd name="connsiteY51" fmla="*/ 235744 h 319087"/>
              <a:gd name="connsiteX52" fmla="*/ 547687 w 690562"/>
              <a:gd name="connsiteY52" fmla="*/ 235744 h 319087"/>
              <a:gd name="connsiteX53" fmla="*/ 581025 w 690562"/>
              <a:gd name="connsiteY53" fmla="*/ 247650 h 319087"/>
              <a:gd name="connsiteX54" fmla="*/ 595312 w 690562"/>
              <a:gd name="connsiteY54" fmla="*/ 242887 h 319087"/>
              <a:gd name="connsiteX55" fmla="*/ 602456 w 690562"/>
              <a:gd name="connsiteY55" fmla="*/ 264319 h 319087"/>
              <a:gd name="connsiteX56" fmla="*/ 602456 w 690562"/>
              <a:gd name="connsiteY56" fmla="*/ 292894 h 319087"/>
              <a:gd name="connsiteX57" fmla="*/ 611981 w 690562"/>
              <a:gd name="connsiteY57" fmla="*/ 297656 h 319087"/>
              <a:gd name="connsiteX58" fmla="*/ 631031 w 690562"/>
              <a:gd name="connsiteY58" fmla="*/ 297656 h 319087"/>
              <a:gd name="connsiteX59" fmla="*/ 650081 w 690562"/>
              <a:gd name="connsiteY59" fmla="*/ 285750 h 319087"/>
              <a:gd name="connsiteX60" fmla="*/ 669131 w 690562"/>
              <a:gd name="connsiteY60" fmla="*/ 278606 h 319087"/>
              <a:gd name="connsiteX61" fmla="*/ 681037 w 690562"/>
              <a:gd name="connsiteY61" fmla="*/ 278606 h 319087"/>
              <a:gd name="connsiteX62" fmla="*/ 690562 w 690562"/>
              <a:gd name="connsiteY62" fmla="*/ 204787 h 319087"/>
              <a:gd name="connsiteX63" fmla="*/ 614362 w 690562"/>
              <a:gd name="connsiteY63" fmla="*/ 228600 h 319087"/>
              <a:gd name="connsiteX64" fmla="*/ 600075 w 690562"/>
              <a:gd name="connsiteY64" fmla="*/ 173831 h 319087"/>
              <a:gd name="connsiteX65" fmla="*/ 583406 w 690562"/>
              <a:gd name="connsiteY65" fmla="*/ 145256 h 319087"/>
              <a:gd name="connsiteX66" fmla="*/ 585787 w 690562"/>
              <a:gd name="connsiteY66" fmla="*/ 121444 h 319087"/>
              <a:gd name="connsiteX67" fmla="*/ 566737 w 690562"/>
              <a:gd name="connsiteY67" fmla="*/ 83344 h 319087"/>
              <a:gd name="connsiteX68" fmla="*/ 561975 w 690562"/>
              <a:gd name="connsiteY68" fmla="*/ 50006 h 319087"/>
              <a:gd name="connsiteX69" fmla="*/ 533400 w 690562"/>
              <a:gd name="connsiteY69" fmla="*/ 0 h 319087"/>
              <a:gd name="connsiteX70" fmla="*/ 411956 w 690562"/>
              <a:gd name="connsiteY70" fmla="*/ 42862 h 319087"/>
              <a:gd name="connsiteX71" fmla="*/ 319087 w 690562"/>
              <a:gd name="connsiteY71" fmla="*/ 71437 h 319087"/>
              <a:gd name="connsiteX72" fmla="*/ 257175 w 690562"/>
              <a:gd name="connsiteY72" fmla="*/ 92869 h 319087"/>
              <a:gd name="connsiteX73" fmla="*/ 147637 w 690562"/>
              <a:gd name="connsiteY73" fmla="*/ 126206 h 319087"/>
              <a:gd name="connsiteX74" fmla="*/ 64293 w 690562"/>
              <a:gd name="connsiteY74" fmla="*/ 157162 h 319087"/>
              <a:gd name="connsiteX75" fmla="*/ 0 w 690562"/>
              <a:gd name="connsiteY75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2418 w 690562"/>
              <a:gd name="connsiteY13" fmla="*/ 147637 h 319087"/>
              <a:gd name="connsiteX14" fmla="*/ 328612 w 690562"/>
              <a:gd name="connsiteY14" fmla="*/ 159544 h 319087"/>
              <a:gd name="connsiteX15" fmla="*/ 369093 w 690562"/>
              <a:gd name="connsiteY15" fmla="*/ 188119 h 319087"/>
              <a:gd name="connsiteX16" fmla="*/ 397668 w 690562"/>
              <a:gd name="connsiteY16" fmla="*/ 214312 h 319087"/>
              <a:gd name="connsiteX17" fmla="*/ 402431 w 690562"/>
              <a:gd name="connsiteY17" fmla="*/ 235744 h 319087"/>
              <a:gd name="connsiteX18" fmla="*/ 400050 w 690562"/>
              <a:gd name="connsiteY18" fmla="*/ 264319 h 319087"/>
              <a:gd name="connsiteX19" fmla="*/ 388143 w 690562"/>
              <a:gd name="connsiteY19" fmla="*/ 290512 h 319087"/>
              <a:gd name="connsiteX20" fmla="*/ 409575 w 690562"/>
              <a:gd name="connsiteY20" fmla="*/ 302419 h 319087"/>
              <a:gd name="connsiteX21" fmla="*/ 419100 w 690562"/>
              <a:gd name="connsiteY21" fmla="*/ 302419 h 319087"/>
              <a:gd name="connsiteX22" fmla="*/ 438150 w 690562"/>
              <a:gd name="connsiteY22" fmla="*/ 290512 h 319087"/>
              <a:gd name="connsiteX23" fmla="*/ 454818 w 690562"/>
              <a:gd name="connsiteY23" fmla="*/ 295275 h 319087"/>
              <a:gd name="connsiteX24" fmla="*/ 473868 w 690562"/>
              <a:gd name="connsiteY24" fmla="*/ 309562 h 319087"/>
              <a:gd name="connsiteX25" fmla="*/ 507206 w 690562"/>
              <a:gd name="connsiteY25" fmla="*/ 314325 h 319087"/>
              <a:gd name="connsiteX26" fmla="*/ 523875 w 690562"/>
              <a:gd name="connsiteY26" fmla="*/ 319087 h 319087"/>
              <a:gd name="connsiteX27" fmla="*/ 526256 w 690562"/>
              <a:gd name="connsiteY27" fmla="*/ 302419 h 319087"/>
              <a:gd name="connsiteX28" fmla="*/ 535781 w 690562"/>
              <a:gd name="connsiteY28" fmla="*/ 290512 h 319087"/>
              <a:gd name="connsiteX29" fmla="*/ 528637 w 690562"/>
              <a:gd name="connsiteY29" fmla="*/ 261937 h 319087"/>
              <a:gd name="connsiteX30" fmla="*/ 509587 w 690562"/>
              <a:gd name="connsiteY30" fmla="*/ 257175 h 319087"/>
              <a:gd name="connsiteX31" fmla="*/ 490537 w 690562"/>
              <a:gd name="connsiteY31" fmla="*/ 235744 h 319087"/>
              <a:gd name="connsiteX32" fmla="*/ 481012 w 690562"/>
              <a:gd name="connsiteY32" fmla="*/ 202406 h 319087"/>
              <a:gd name="connsiteX33" fmla="*/ 461962 w 690562"/>
              <a:gd name="connsiteY33" fmla="*/ 154781 h 319087"/>
              <a:gd name="connsiteX34" fmla="*/ 457200 w 690562"/>
              <a:gd name="connsiteY34" fmla="*/ 126206 h 319087"/>
              <a:gd name="connsiteX35" fmla="*/ 457200 w 690562"/>
              <a:gd name="connsiteY35" fmla="*/ 111919 h 319087"/>
              <a:gd name="connsiteX36" fmla="*/ 469106 w 690562"/>
              <a:gd name="connsiteY36" fmla="*/ 100012 h 319087"/>
              <a:gd name="connsiteX37" fmla="*/ 476250 w 690562"/>
              <a:gd name="connsiteY37" fmla="*/ 78581 h 319087"/>
              <a:gd name="connsiteX38" fmla="*/ 497681 w 690562"/>
              <a:gd name="connsiteY38" fmla="*/ 73819 h 319087"/>
              <a:gd name="connsiteX39" fmla="*/ 500062 w 690562"/>
              <a:gd name="connsiteY39" fmla="*/ 92869 h 319087"/>
              <a:gd name="connsiteX40" fmla="*/ 495300 w 690562"/>
              <a:gd name="connsiteY40" fmla="*/ 107156 h 319087"/>
              <a:gd name="connsiteX41" fmla="*/ 509587 w 690562"/>
              <a:gd name="connsiteY41" fmla="*/ 116681 h 319087"/>
              <a:gd name="connsiteX42" fmla="*/ 509587 w 690562"/>
              <a:gd name="connsiteY42" fmla="*/ 126206 h 319087"/>
              <a:gd name="connsiteX43" fmla="*/ 504825 w 690562"/>
              <a:gd name="connsiteY43" fmla="*/ 147637 h 319087"/>
              <a:gd name="connsiteX44" fmla="*/ 502443 w 690562"/>
              <a:gd name="connsiteY44" fmla="*/ 154781 h 319087"/>
              <a:gd name="connsiteX45" fmla="*/ 523875 w 690562"/>
              <a:gd name="connsiteY45" fmla="*/ 171450 h 319087"/>
              <a:gd name="connsiteX46" fmla="*/ 531018 w 690562"/>
              <a:gd name="connsiteY46" fmla="*/ 185737 h 319087"/>
              <a:gd name="connsiteX47" fmla="*/ 545306 w 690562"/>
              <a:gd name="connsiteY47" fmla="*/ 190500 h 319087"/>
              <a:gd name="connsiteX48" fmla="*/ 531018 w 690562"/>
              <a:gd name="connsiteY48" fmla="*/ 204787 h 319087"/>
              <a:gd name="connsiteX49" fmla="*/ 528637 w 690562"/>
              <a:gd name="connsiteY49" fmla="*/ 216694 h 319087"/>
              <a:gd name="connsiteX50" fmla="*/ 547687 w 690562"/>
              <a:gd name="connsiteY50" fmla="*/ 235744 h 319087"/>
              <a:gd name="connsiteX51" fmla="*/ 547687 w 690562"/>
              <a:gd name="connsiteY51" fmla="*/ 235744 h 319087"/>
              <a:gd name="connsiteX52" fmla="*/ 581025 w 690562"/>
              <a:gd name="connsiteY52" fmla="*/ 247650 h 319087"/>
              <a:gd name="connsiteX53" fmla="*/ 595312 w 690562"/>
              <a:gd name="connsiteY53" fmla="*/ 242887 h 319087"/>
              <a:gd name="connsiteX54" fmla="*/ 602456 w 690562"/>
              <a:gd name="connsiteY54" fmla="*/ 264319 h 319087"/>
              <a:gd name="connsiteX55" fmla="*/ 602456 w 690562"/>
              <a:gd name="connsiteY55" fmla="*/ 292894 h 319087"/>
              <a:gd name="connsiteX56" fmla="*/ 611981 w 690562"/>
              <a:gd name="connsiteY56" fmla="*/ 297656 h 319087"/>
              <a:gd name="connsiteX57" fmla="*/ 631031 w 690562"/>
              <a:gd name="connsiteY57" fmla="*/ 297656 h 319087"/>
              <a:gd name="connsiteX58" fmla="*/ 650081 w 690562"/>
              <a:gd name="connsiteY58" fmla="*/ 285750 h 319087"/>
              <a:gd name="connsiteX59" fmla="*/ 669131 w 690562"/>
              <a:gd name="connsiteY59" fmla="*/ 278606 h 319087"/>
              <a:gd name="connsiteX60" fmla="*/ 681037 w 690562"/>
              <a:gd name="connsiteY60" fmla="*/ 278606 h 319087"/>
              <a:gd name="connsiteX61" fmla="*/ 690562 w 690562"/>
              <a:gd name="connsiteY61" fmla="*/ 204787 h 319087"/>
              <a:gd name="connsiteX62" fmla="*/ 614362 w 690562"/>
              <a:gd name="connsiteY62" fmla="*/ 228600 h 319087"/>
              <a:gd name="connsiteX63" fmla="*/ 600075 w 690562"/>
              <a:gd name="connsiteY63" fmla="*/ 173831 h 319087"/>
              <a:gd name="connsiteX64" fmla="*/ 583406 w 690562"/>
              <a:gd name="connsiteY64" fmla="*/ 145256 h 319087"/>
              <a:gd name="connsiteX65" fmla="*/ 585787 w 690562"/>
              <a:gd name="connsiteY65" fmla="*/ 121444 h 319087"/>
              <a:gd name="connsiteX66" fmla="*/ 566737 w 690562"/>
              <a:gd name="connsiteY66" fmla="*/ 83344 h 319087"/>
              <a:gd name="connsiteX67" fmla="*/ 561975 w 690562"/>
              <a:gd name="connsiteY67" fmla="*/ 50006 h 319087"/>
              <a:gd name="connsiteX68" fmla="*/ 533400 w 690562"/>
              <a:gd name="connsiteY68" fmla="*/ 0 h 319087"/>
              <a:gd name="connsiteX69" fmla="*/ 411956 w 690562"/>
              <a:gd name="connsiteY69" fmla="*/ 42862 h 319087"/>
              <a:gd name="connsiteX70" fmla="*/ 319087 w 690562"/>
              <a:gd name="connsiteY70" fmla="*/ 71437 h 319087"/>
              <a:gd name="connsiteX71" fmla="*/ 257175 w 690562"/>
              <a:gd name="connsiteY71" fmla="*/ 92869 h 319087"/>
              <a:gd name="connsiteX72" fmla="*/ 147637 w 690562"/>
              <a:gd name="connsiteY72" fmla="*/ 126206 h 319087"/>
              <a:gd name="connsiteX73" fmla="*/ 64293 w 690562"/>
              <a:gd name="connsiteY73" fmla="*/ 157162 h 319087"/>
              <a:gd name="connsiteX74" fmla="*/ 0 w 690562"/>
              <a:gd name="connsiteY74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2418 w 690562"/>
              <a:gd name="connsiteY13" fmla="*/ 147637 h 319087"/>
              <a:gd name="connsiteX14" fmla="*/ 369093 w 690562"/>
              <a:gd name="connsiteY14" fmla="*/ 188119 h 319087"/>
              <a:gd name="connsiteX15" fmla="*/ 397668 w 690562"/>
              <a:gd name="connsiteY15" fmla="*/ 214312 h 319087"/>
              <a:gd name="connsiteX16" fmla="*/ 402431 w 690562"/>
              <a:gd name="connsiteY16" fmla="*/ 235744 h 319087"/>
              <a:gd name="connsiteX17" fmla="*/ 400050 w 690562"/>
              <a:gd name="connsiteY17" fmla="*/ 264319 h 319087"/>
              <a:gd name="connsiteX18" fmla="*/ 388143 w 690562"/>
              <a:gd name="connsiteY18" fmla="*/ 290512 h 319087"/>
              <a:gd name="connsiteX19" fmla="*/ 409575 w 690562"/>
              <a:gd name="connsiteY19" fmla="*/ 302419 h 319087"/>
              <a:gd name="connsiteX20" fmla="*/ 419100 w 690562"/>
              <a:gd name="connsiteY20" fmla="*/ 302419 h 319087"/>
              <a:gd name="connsiteX21" fmla="*/ 438150 w 690562"/>
              <a:gd name="connsiteY21" fmla="*/ 290512 h 319087"/>
              <a:gd name="connsiteX22" fmla="*/ 454818 w 690562"/>
              <a:gd name="connsiteY22" fmla="*/ 295275 h 319087"/>
              <a:gd name="connsiteX23" fmla="*/ 473868 w 690562"/>
              <a:gd name="connsiteY23" fmla="*/ 309562 h 319087"/>
              <a:gd name="connsiteX24" fmla="*/ 507206 w 690562"/>
              <a:gd name="connsiteY24" fmla="*/ 314325 h 319087"/>
              <a:gd name="connsiteX25" fmla="*/ 523875 w 690562"/>
              <a:gd name="connsiteY25" fmla="*/ 319087 h 319087"/>
              <a:gd name="connsiteX26" fmla="*/ 526256 w 690562"/>
              <a:gd name="connsiteY26" fmla="*/ 302419 h 319087"/>
              <a:gd name="connsiteX27" fmla="*/ 535781 w 690562"/>
              <a:gd name="connsiteY27" fmla="*/ 290512 h 319087"/>
              <a:gd name="connsiteX28" fmla="*/ 528637 w 690562"/>
              <a:gd name="connsiteY28" fmla="*/ 261937 h 319087"/>
              <a:gd name="connsiteX29" fmla="*/ 509587 w 690562"/>
              <a:gd name="connsiteY29" fmla="*/ 257175 h 319087"/>
              <a:gd name="connsiteX30" fmla="*/ 490537 w 690562"/>
              <a:gd name="connsiteY30" fmla="*/ 235744 h 319087"/>
              <a:gd name="connsiteX31" fmla="*/ 481012 w 690562"/>
              <a:gd name="connsiteY31" fmla="*/ 202406 h 319087"/>
              <a:gd name="connsiteX32" fmla="*/ 461962 w 690562"/>
              <a:gd name="connsiteY32" fmla="*/ 154781 h 319087"/>
              <a:gd name="connsiteX33" fmla="*/ 457200 w 690562"/>
              <a:gd name="connsiteY33" fmla="*/ 126206 h 319087"/>
              <a:gd name="connsiteX34" fmla="*/ 457200 w 690562"/>
              <a:gd name="connsiteY34" fmla="*/ 111919 h 319087"/>
              <a:gd name="connsiteX35" fmla="*/ 469106 w 690562"/>
              <a:gd name="connsiteY35" fmla="*/ 100012 h 319087"/>
              <a:gd name="connsiteX36" fmla="*/ 476250 w 690562"/>
              <a:gd name="connsiteY36" fmla="*/ 78581 h 319087"/>
              <a:gd name="connsiteX37" fmla="*/ 497681 w 690562"/>
              <a:gd name="connsiteY37" fmla="*/ 73819 h 319087"/>
              <a:gd name="connsiteX38" fmla="*/ 500062 w 690562"/>
              <a:gd name="connsiteY38" fmla="*/ 92869 h 319087"/>
              <a:gd name="connsiteX39" fmla="*/ 495300 w 690562"/>
              <a:gd name="connsiteY39" fmla="*/ 107156 h 319087"/>
              <a:gd name="connsiteX40" fmla="*/ 509587 w 690562"/>
              <a:gd name="connsiteY40" fmla="*/ 116681 h 319087"/>
              <a:gd name="connsiteX41" fmla="*/ 509587 w 690562"/>
              <a:gd name="connsiteY41" fmla="*/ 126206 h 319087"/>
              <a:gd name="connsiteX42" fmla="*/ 504825 w 690562"/>
              <a:gd name="connsiteY42" fmla="*/ 147637 h 319087"/>
              <a:gd name="connsiteX43" fmla="*/ 502443 w 690562"/>
              <a:gd name="connsiteY43" fmla="*/ 154781 h 319087"/>
              <a:gd name="connsiteX44" fmla="*/ 523875 w 690562"/>
              <a:gd name="connsiteY44" fmla="*/ 171450 h 319087"/>
              <a:gd name="connsiteX45" fmla="*/ 531018 w 690562"/>
              <a:gd name="connsiteY45" fmla="*/ 185737 h 319087"/>
              <a:gd name="connsiteX46" fmla="*/ 545306 w 690562"/>
              <a:gd name="connsiteY46" fmla="*/ 190500 h 319087"/>
              <a:gd name="connsiteX47" fmla="*/ 531018 w 690562"/>
              <a:gd name="connsiteY47" fmla="*/ 204787 h 319087"/>
              <a:gd name="connsiteX48" fmla="*/ 528637 w 690562"/>
              <a:gd name="connsiteY48" fmla="*/ 216694 h 319087"/>
              <a:gd name="connsiteX49" fmla="*/ 547687 w 690562"/>
              <a:gd name="connsiteY49" fmla="*/ 235744 h 319087"/>
              <a:gd name="connsiteX50" fmla="*/ 547687 w 690562"/>
              <a:gd name="connsiteY50" fmla="*/ 235744 h 319087"/>
              <a:gd name="connsiteX51" fmla="*/ 581025 w 690562"/>
              <a:gd name="connsiteY51" fmla="*/ 247650 h 319087"/>
              <a:gd name="connsiteX52" fmla="*/ 595312 w 690562"/>
              <a:gd name="connsiteY52" fmla="*/ 242887 h 319087"/>
              <a:gd name="connsiteX53" fmla="*/ 602456 w 690562"/>
              <a:gd name="connsiteY53" fmla="*/ 264319 h 319087"/>
              <a:gd name="connsiteX54" fmla="*/ 602456 w 690562"/>
              <a:gd name="connsiteY54" fmla="*/ 292894 h 319087"/>
              <a:gd name="connsiteX55" fmla="*/ 611981 w 690562"/>
              <a:gd name="connsiteY55" fmla="*/ 297656 h 319087"/>
              <a:gd name="connsiteX56" fmla="*/ 631031 w 690562"/>
              <a:gd name="connsiteY56" fmla="*/ 297656 h 319087"/>
              <a:gd name="connsiteX57" fmla="*/ 650081 w 690562"/>
              <a:gd name="connsiteY57" fmla="*/ 285750 h 319087"/>
              <a:gd name="connsiteX58" fmla="*/ 669131 w 690562"/>
              <a:gd name="connsiteY58" fmla="*/ 278606 h 319087"/>
              <a:gd name="connsiteX59" fmla="*/ 681037 w 690562"/>
              <a:gd name="connsiteY59" fmla="*/ 278606 h 319087"/>
              <a:gd name="connsiteX60" fmla="*/ 690562 w 690562"/>
              <a:gd name="connsiteY60" fmla="*/ 204787 h 319087"/>
              <a:gd name="connsiteX61" fmla="*/ 614362 w 690562"/>
              <a:gd name="connsiteY61" fmla="*/ 228600 h 319087"/>
              <a:gd name="connsiteX62" fmla="*/ 600075 w 690562"/>
              <a:gd name="connsiteY62" fmla="*/ 173831 h 319087"/>
              <a:gd name="connsiteX63" fmla="*/ 583406 w 690562"/>
              <a:gd name="connsiteY63" fmla="*/ 145256 h 319087"/>
              <a:gd name="connsiteX64" fmla="*/ 585787 w 690562"/>
              <a:gd name="connsiteY64" fmla="*/ 121444 h 319087"/>
              <a:gd name="connsiteX65" fmla="*/ 566737 w 690562"/>
              <a:gd name="connsiteY65" fmla="*/ 83344 h 319087"/>
              <a:gd name="connsiteX66" fmla="*/ 561975 w 690562"/>
              <a:gd name="connsiteY66" fmla="*/ 50006 h 319087"/>
              <a:gd name="connsiteX67" fmla="*/ 533400 w 690562"/>
              <a:gd name="connsiteY67" fmla="*/ 0 h 319087"/>
              <a:gd name="connsiteX68" fmla="*/ 411956 w 690562"/>
              <a:gd name="connsiteY68" fmla="*/ 42862 h 319087"/>
              <a:gd name="connsiteX69" fmla="*/ 319087 w 690562"/>
              <a:gd name="connsiteY69" fmla="*/ 71437 h 319087"/>
              <a:gd name="connsiteX70" fmla="*/ 257175 w 690562"/>
              <a:gd name="connsiteY70" fmla="*/ 92869 h 319087"/>
              <a:gd name="connsiteX71" fmla="*/ 147637 w 690562"/>
              <a:gd name="connsiteY71" fmla="*/ 126206 h 319087"/>
              <a:gd name="connsiteX72" fmla="*/ 64293 w 690562"/>
              <a:gd name="connsiteY72" fmla="*/ 157162 h 319087"/>
              <a:gd name="connsiteX73" fmla="*/ 0 w 690562"/>
              <a:gd name="connsiteY73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2418 w 690562"/>
              <a:gd name="connsiteY13" fmla="*/ 147637 h 319087"/>
              <a:gd name="connsiteX14" fmla="*/ 361950 w 690562"/>
              <a:gd name="connsiteY14" fmla="*/ 195297 h 319087"/>
              <a:gd name="connsiteX15" fmla="*/ 397668 w 690562"/>
              <a:gd name="connsiteY15" fmla="*/ 214312 h 319087"/>
              <a:gd name="connsiteX16" fmla="*/ 402431 w 690562"/>
              <a:gd name="connsiteY16" fmla="*/ 235744 h 319087"/>
              <a:gd name="connsiteX17" fmla="*/ 400050 w 690562"/>
              <a:gd name="connsiteY17" fmla="*/ 264319 h 319087"/>
              <a:gd name="connsiteX18" fmla="*/ 388143 w 690562"/>
              <a:gd name="connsiteY18" fmla="*/ 290512 h 319087"/>
              <a:gd name="connsiteX19" fmla="*/ 409575 w 690562"/>
              <a:gd name="connsiteY19" fmla="*/ 302419 h 319087"/>
              <a:gd name="connsiteX20" fmla="*/ 419100 w 690562"/>
              <a:gd name="connsiteY20" fmla="*/ 302419 h 319087"/>
              <a:gd name="connsiteX21" fmla="*/ 438150 w 690562"/>
              <a:gd name="connsiteY21" fmla="*/ 290512 h 319087"/>
              <a:gd name="connsiteX22" fmla="*/ 454818 w 690562"/>
              <a:gd name="connsiteY22" fmla="*/ 295275 h 319087"/>
              <a:gd name="connsiteX23" fmla="*/ 473868 w 690562"/>
              <a:gd name="connsiteY23" fmla="*/ 309562 h 319087"/>
              <a:gd name="connsiteX24" fmla="*/ 507206 w 690562"/>
              <a:gd name="connsiteY24" fmla="*/ 314325 h 319087"/>
              <a:gd name="connsiteX25" fmla="*/ 523875 w 690562"/>
              <a:gd name="connsiteY25" fmla="*/ 319087 h 319087"/>
              <a:gd name="connsiteX26" fmla="*/ 526256 w 690562"/>
              <a:gd name="connsiteY26" fmla="*/ 302419 h 319087"/>
              <a:gd name="connsiteX27" fmla="*/ 535781 w 690562"/>
              <a:gd name="connsiteY27" fmla="*/ 290512 h 319087"/>
              <a:gd name="connsiteX28" fmla="*/ 528637 w 690562"/>
              <a:gd name="connsiteY28" fmla="*/ 261937 h 319087"/>
              <a:gd name="connsiteX29" fmla="*/ 509587 w 690562"/>
              <a:gd name="connsiteY29" fmla="*/ 257175 h 319087"/>
              <a:gd name="connsiteX30" fmla="*/ 490537 w 690562"/>
              <a:gd name="connsiteY30" fmla="*/ 235744 h 319087"/>
              <a:gd name="connsiteX31" fmla="*/ 481012 w 690562"/>
              <a:gd name="connsiteY31" fmla="*/ 202406 h 319087"/>
              <a:gd name="connsiteX32" fmla="*/ 461962 w 690562"/>
              <a:gd name="connsiteY32" fmla="*/ 154781 h 319087"/>
              <a:gd name="connsiteX33" fmla="*/ 457200 w 690562"/>
              <a:gd name="connsiteY33" fmla="*/ 126206 h 319087"/>
              <a:gd name="connsiteX34" fmla="*/ 457200 w 690562"/>
              <a:gd name="connsiteY34" fmla="*/ 111919 h 319087"/>
              <a:gd name="connsiteX35" fmla="*/ 469106 w 690562"/>
              <a:gd name="connsiteY35" fmla="*/ 100012 h 319087"/>
              <a:gd name="connsiteX36" fmla="*/ 476250 w 690562"/>
              <a:gd name="connsiteY36" fmla="*/ 78581 h 319087"/>
              <a:gd name="connsiteX37" fmla="*/ 497681 w 690562"/>
              <a:gd name="connsiteY37" fmla="*/ 73819 h 319087"/>
              <a:gd name="connsiteX38" fmla="*/ 500062 w 690562"/>
              <a:gd name="connsiteY38" fmla="*/ 92869 h 319087"/>
              <a:gd name="connsiteX39" fmla="*/ 495300 w 690562"/>
              <a:gd name="connsiteY39" fmla="*/ 107156 h 319087"/>
              <a:gd name="connsiteX40" fmla="*/ 509587 w 690562"/>
              <a:gd name="connsiteY40" fmla="*/ 116681 h 319087"/>
              <a:gd name="connsiteX41" fmla="*/ 509587 w 690562"/>
              <a:gd name="connsiteY41" fmla="*/ 126206 h 319087"/>
              <a:gd name="connsiteX42" fmla="*/ 504825 w 690562"/>
              <a:gd name="connsiteY42" fmla="*/ 147637 h 319087"/>
              <a:gd name="connsiteX43" fmla="*/ 502443 w 690562"/>
              <a:gd name="connsiteY43" fmla="*/ 154781 h 319087"/>
              <a:gd name="connsiteX44" fmla="*/ 523875 w 690562"/>
              <a:gd name="connsiteY44" fmla="*/ 171450 h 319087"/>
              <a:gd name="connsiteX45" fmla="*/ 531018 w 690562"/>
              <a:gd name="connsiteY45" fmla="*/ 185737 h 319087"/>
              <a:gd name="connsiteX46" fmla="*/ 545306 w 690562"/>
              <a:gd name="connsiteY46" fmla="*/ 190500 h 319087"/>
              <a:gd name="connsiteX47" fmla="*/ 531018 w 690562"/>
              <a:gd name="connsiteY47" fmla="*/ 204787 h 319087"/>
              <a:gd name="connsiteX48" fmla="*/ 528637 w 690562"/>
              <a:gd name="connsiteY48" fmla="*/ 216694 h 319087"/>
              <a:gd name="connsiteX49" fmla="*/ 547687 w 690562"/>
              <a:gd name="connsiteY49" fmla="*/ 235744 h 319087"/>
              <a:gd name="connsiteX50" fmla="*/ 547687 w 690562"/>
              <a:gd name="connsiteY50" fmla="*/ 235744 h 319087"/>
              <a:gd name="connsiteX51" fmla="*/ 581025 w 690562"/>
              <a:gd name="connsiteY51" fmla="*/ 247650 h 319087"/>
              <a:gd name="connsiteX52" fmla="*/ 595312 w 690562"/>
              <a:gd name="connsiteY52" fmla="*/ 242887 h 319087"/>
              <a:gd name="connsiteX53" fmla="*/ 602456 w 690562"/>
              <a:gd name="connsiteY53" fmla="*/ 264319 h 319087"/>
              <a:gd name="connsiteX54" fmla="*/ 602456 w 690562"/>
              <a:gd name="connsiteY54" fmla="*/ 292894 h 319087"/>
              <a:gd name="connsiteX55" fmla="*/ 611981 w 690562"/>
              <a:gd name="connsiteY55" fmla="*/ 297656 h 319087"/>
              <a:gd name="connsiteX56" fmla="*/ 631031 w 690562"/>
              <a:gd name="connsiteY56" fmla="*/ 297656 h 319087"/>
              <a:gd name="connsiteX57" fmla="*/ 650081 w 690562"/>
              <a:gd name="connsiteY57" fmla="*/ 285750 h 319087"/>
              <a:gd name="connsiteX58" fmla="*/ 669131 w 690562"/>
              <a:gd name="connsiteY58" fmla="*/ 278606 h 319087"/>
              <a:gd name="connsiteX59" fmla="*/ 681037 w 690562"/>
              <a:gd name="connsiteY59" fmla="*/ 278606 h 319087"/>
              <a:gd name="connsiteX60" fmla="*/ 690562 w 690562"/>
              <a:gd name="connsiteY60" fmla="*/ 204787 h 319087"/>
              <a:gd name="connsiteX61" fmla="*/ 614362 w 690562"/>
              <a:gd name="connsiteY61" fmla="*/ 228600 h 319087"/>
              <a:gd name="connsiteX62" fmla="*/ 600075 w 690562"/>
              <a:gd name="connsiteY62" fmla="*/ 173831 h 319087"/>
              <a:gd name="connsiteX63" fmla="*/ 583406 w 690562"/>
              <a:gd name="connsiteY63" fmla="*/ 145256 h 319087"/>
              <a:gd name="connsiteX64" fmla="*/ 585787 w 690562"/>
              <a:gd name="connsiteY64" fmla="*/ 121444 h 319087"/>
              <a:gd name="connsiteX65" fmla="*/ 566737 w 690562"/>
              <a:gd name="connsiteY65" fmla="*/ 83344 h 319087"/>
              <a:gd name="connsiteX66" fmla="*/ 561975 w 690562"/>
              <a:gd name="connsiteY66" fmla="*/ 50006 h 319087"/>
              <a:gd name="connsiteX67" fmla="*/ 533400 w 690562"/>
              <a:gd name="connsiteY67" fmla="*/ 0 h 319087"/>
              <a:gd name="connsiteX68" fmla="*/ 411956 w 690562"/>
              <a:gd name="connsiteY68" fmla="*/ 42862 h 319087"/>
              <a:gd name="connsiteX69" fmla="*/ 319087 w 690562"/>
              <a:gd name="connsiteY69" fmla="*/ 71437 h 319087"/>
              <a:gd name="connsiteX70" fmla="*/ 257175 w 690562"/>
              <a:gd name="connsiteY70" fmla="*/ 92869 h 319087"/>
              <a:gd name="connsiteX71" fmla="*/ 147637 w 690562"/>
              <a:gd name="connsiteY71" fmla="*/ 126206 h 319087"/>
              <a:gd name="connsiteX72" fmla="*/ 64293 w 690562"/>
              <a:gd name="connsiteY72" fmla="*/ 157162 h 319087"/>
              <a:gd name="connsiteX73" fmla="*/ 0 w 690562"/>
              <a:gd name="connsiteY73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4800 w 690562"/>
              <a:gd name="connsiteY13" fmla="*/ 154817 h 319087"/>
              <a:gd name="connsiteX14" fmla="*/ 361950 w 690562"/>
              <a:gd name="connsiteY14" fmla="*/ 195297 h 319087"/>
              <a:gd name="connsiteX15" fmla="*/ 397668 w 690562"/>
              <a:gd name="connsiteY15" fmla="*/ 214312 h 319087"/>
              <a:gd name="connsiteX16" fmla="*/ 402431 w 690562"/>
              <a:gd name="connsiteY16" fmla="*/ 235744 h 319087"/>
              <a:gd name="connsiteX17" fmla="*/ 400050 w 690562"/>
              <a:gd name="connsiteY17" fmla="*/ 264319 h 319087"/>
              <a:gd name="connsiteX18" fmla="*/ 388143 w 690562"/>
              <a:gd name="connsiteY18" fmla="*/ 290512 h 319087"/>
              <a:gd name="connsiteX19" fmla="*/ 409575 w 690562"/>
              <a:gd name="connsiteY19" fmla="*/ 302419 h 319087"/>
              <a:gd name="connsiteX20" fmla="*/ 419100 w 690562"/>
              <a:gd name="connsiteY20" fmla="*/ 302419 h 319087"/>
              <a:gd name="connsiteX21" fmla="*/ 438150 w 690562"/>
              <a:gd name="connsiteY21" fmla="*/ 290512 h 319087"/>
              <a:gd name="connsiteX22" fmla="*/ 454818 w 690562"/>
              <a:gd name="connsiteY22" fmla="*/ 295275 h 319087"/>
              <a:gd name="connsiteX23" fmla="*/ 473868 w 690562"/>
              <a:gd name="connsiteY23" fmla="*/ 309562 h 319087"/>
              <a:gd name="connsiteX24" fmla="*/ 507206 w 690562"/>
              <a:gd name="connsiteY24" fmla="*/ 314325 h 319087"/>
              <a:gd name="connsiteX25" fmla="*/ 523875 w 690562"/>
              <a:gd name="connsiteY25" fmla="*/ 319087 h 319087"/>
              <a:gd name="connsiteX26" fmla="*/ 526256 w 690562"/>
              <a:gd name="connsiteY26" fmla="*/ 302419 h 319087"/>
              <a:gd name="connsiteX27" fmla="*/ 535781 w 690562"/>
              <a:gd name="connsiteY27" fmla="*/ 290512 h 319087"/>
              <a:gd name="connsiteX28" fmla="*/ 528637 w 690562"/>
              <a:gd name="connsiteY28" fmla="*/ 261937 h 319087"/>
              <a:gd name="connsiteX29" fmla="*/ 509587 w 690562"/>
              <a:gd name="connsiteY29" fmla="*/ 257175 h 319087"/>
              <a:gd name="connsiteX30" fmla="*/ 490537 w 690562"/>
              <a:gd name="connsiteY30" fmla="*/ 235744 h 319087"/>
              <a:gd name="connsiteX31" fmla="*/ 481012 w 690562"/>
              <a:gd name="connsiteY31" fmla="*/ 202406 h 319087"/>
              <a:gd name="connsiteX32" fmla="*/ 461962 w 690562"/>
              <a:gd name="connsiteY32" fmla="*/ 154781 h 319087"/>
              <a:gd name="connsiteX33" fmla="*/ 457200 w 690562"/>
              <a:gd name="connsiteY33" fmla="*/ 126206 h 319087"/>
              <a:gd name="connsiteX34" fmla="*/ 457200 w 690562"/>
              <a:gd name="connsiteY34" fmla="*/ 111919 h 319087"/>
              <a:gd name="connsiteX35" fmla="*/ 469106 w 690562"/>
              <a:gd name="connsiteY35" fmla="*/ 100012 h 319087"/>
              <a:gd name="connsiteX36" fmla="*/ 476250 w 690562"/>
              <a:gd name="connsiteY36" fmla="*/ 78581 h 319087"/>
              <a:gd name="connsiteX37" fmla="*/ 497681 w 690562"/>
              <a:gd name="connsiteY37" fmla="*/ 73819 h 319087"/>
              <a:gd name="connsiteX38" fmla="*/ 500062 w 690562"/>
              <a:gd name="connsiteY38" fmla="*/ 92869 h 319087"/>
              <a:gd name="connsiteX39" fmla="*/ 495300 w 690562"/>
              <a:gd name="connsiteY39" fmla="*/ 107156 h 319087"/>
              <a:gd name="connsiteX40" fmla="*/ 509587 w 690562"/>
              <a:gd name="connsiteY40" fmla="*/ 116681 h 319087"/>
              <a:gd name="connsiteX41" fmla="*/ 509587 w 690562"/>
              <a:gd name="connsiteY41" fmla="*/ 126206 h 319087"/>
              <a:gd name="connsiteX42" fmla="*/ 504825 w 690562"/>
              <a:gd name="connsiteY42" fmla="*/ 147637 h 319087"/>
              <a:gd name="connsiteX43" fmla="*/ 502443 w 690562"/>
              <a:gd name="connsiteY43" fmla="*/ 154781 h 319087"/>
              <a:gd name="connsiteX44" fmla="*/ 523875 w 690562"/>
              <a:gd name="connsiteY44" fmla="*/ 171450 h 319087"/>
              <a:gd name="connsiteX45" fmla="*/ 531018 w 690562"/>
              <a:gd name="connsiteY45" fmla="*/ 185737 h 319087"/>
              <a:gd name="connsiteX46" fmla="*/ 545306 w 690562"/>
              <a:gd name="connsiteY46" fmla="*/ 190500 h 319087"/>
              <a:gd name="connsiteX47" fmla="*/ 531018 w 690562"/>
              <a:gd name="connsiteY47" fmla="*/ 204787 h 319087"/>
              <a:gd name="connsiteX48" fmla="*/ 528637 w 690562"/>
              <a:gd name="connsiteY48" fmla="*/ 216694 h 319087"/>
              <a:gd name="connsiteX49" fmla="*/ 547687 w 690562"/>
              <a:gd name="connsiteY49" fmla="*/ 235744 h 319087"/>
              <a:gd name="connsiteX50" fmla="*/ 547687 w 690562"/>
              <a:gd name="connsiteY50" fmla="*/ 235744 h 319087"/>
              <a:gd name="connsiteX51" fmla="*/ 581025 w 690562"/>
              <a:gd name="connsiteY51" fmla="*/ 247650 h 319087"/>
              <a:gd name="connsiteX52" fmla="*/ 595312 w 690562"/>
              <a:gd name="connsiteY52" fmla="*/ 242887 h 319087"/>
              <a:gd name="connsiteX53" fmla="*/ 602456 w 690562"/>
              <a:gd name="connsiteY53" fmla="*/ 264319 h 319087"/>
              <a:gd name="connsiteX54" fmla="*/ 602456 w 690562"/>
              <a:gd name="connsiteY54" fmla="*/ 292894 h 319087"/>
              <a:gd name="connsiteX55" fmla="*/ 611981 w 690562"/>
              <a:gd name="connsiteY55" fmla="*/ 297656 h 319087"/>
              <a:gd name="connsiteX56" fmla="*/ 631031 w 690562"/>
              <a:gd name="connsiteY56" fmla="*/ 297656 h 319087"/>
              <a:gd name="connsiteX57" fmla="*/ 650081 w 690562"/>
              <a:gd name="connsiteY57" fmla="*/ 285750 h 319087"/>
              <a:gd name="connsiteX58" fmla="*/ 669131 w 690562"/>
              <a:gd name="connsiteY58" fmla="*/ 278606 h 319087"/>
              <a:gd name="connsiteX59" fmla="*/ 681037 w 690562"/>
              <a:gd name="connsiteY59" fmla="*/ 278606 h 319087"/>
              <a:gd name="connsiteX60" fmla="*/ 690562 w 690562"/>
              <a:gd name="connsiteY60" fmla="*/ 204787 h 319087"/>
              <a:gd name="connsiteX61" fmla="*/ 614362 w 690562"/>
              <a:gd name="connsiteY61" fmla="*/ 228600 h 319087"/>
              <a:gd name="connsiteX62" fmla="*/ 600075 w 690562"/>
              <a:gd name="connsiteY62" fmla="*/ 173831 h 319087"/>
              <a:gd name="connsiteX63" fmla="*/ 583406 w 690562"/>
              <a:gd name="connsiteY63" fmla="*/ 145256 h 319087"/>
              <a:gd name="connsiteX64" fmla="*/ 585787 w 690562"/>
              <a:gd name="connsiteY64" fmla="*/ 121444 h 319087"/>
              <a:gd name="connsiteX65" fmla="*/ 566737 w 690562"/>
              <a:gd name="connsiteY65" fmla="*/ 83344 h 319087"/>
              <a:gd name="connsiteX66" fmla="*/ 561975 w 690562"/>
              <a:gd name="connsiteY66" fmla="*/ 50006 h 319087"/>
              <a:gd name="connsiteX67" fmla="*/ 533400 w 690562"/>
              <a:gd name="connsiteY67" fmla="*/ 0 h 319087"/>
              <a:gd name="connsiteX68" fmla="*/ 411956 w 690562"/>
              <a:gd name="connsiteY68" fmla="*/ 42862 h 319087"/>
              <a:gd name="connsiteX69" fmla="*/ 319087 w 690562"/>
              <a:gd name="connsiteY69" fmla="*/ 71437 h 319087"/>
              <a:gd name="connsiteX70" fmla="*/ 257175 w 690562"/>
              <a:gd name="connsiteY70" fmla="*/ 92869 h 319087"/>
              <a:gd name="connsiteX71" fmla="*/ 147637 w 690562"/>
              <a:gd name="connsiteY71" fmla="*/ 126206 h 319087"/>
              <a:gd name="connsiteX72" fmla="*/ 64293 w 690562"/>
              <a:gd name="connsiteY72" fmla="*/ 157162 h 319087"/>
              <a:gd name="connsiteX73" fmla="*/ 0 w 690562"/>
              <a:gd name="connsiteY73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4800 w 690562"/>
              <a:gd name="connsiteY13" fmla="*/ 154817 h 319087"/>
              <a:gd name="connsiteX14" fmla="*/ 361950 w 690562"/>
              <a:gd name="connsiteY14" fmla="*/ 195297 h 319087"/>
              <a:gd name="connsiteX15" fmla="*/ 397668 w 690562"/>
              <a:gd name="connsiteY15" fmla="*/ 214312 h 319087"/>
              <a:gd name="connsiteX16" fmla="*/ 402431 w 690562"/>
              <a:gd name="connsiteY16" fmla="*/ 235744 h 319087"/>
              <a:gd name="connsiteX17" fmla="*/ 400050 w 690562"/>
              <a:gd name="connsiteY17" fmla="*/ 264319 h 319087"/>
              <a:gd name="connsiteX18" fmla="*/ 388143 w 690562"/>
              <a:gd name="connsiteY18" fmla="*/ 290512 h 319087"/>
              <a:gd name="connsiteX19" fmla="*/ 409575 w 690562"/>
              <a:gd name="connsiteY19" fmla="*/ 302419 h 319087"/>
              <a:gd name="connsiteX20" fmla="*/ 419100 w 690562"/>
              <a:gd name="connsiteY20" fmla="*/ 302419 h 319087"/>
              <a:gd name="connsiteX21" fmla="*/ 438150 w 690562"/>
              <a:gd name="connsiteY21" fmla="*/ 290512 h 319087"/>
              <a:gd name="connsiteX22" fmla="*/ 473868 w 690562"/>
              <a:gd name="connsiteY22" fmla="*/ 309562 h 319087"/>
              <a:gd name="connsiteX23" fmla="*/ 507206 w 690562"/>
              <a:gd name="connsiteY23" fmla="*/ 314325 h 319087"/>
              <a:gd name="connsiteX24" fmla="*/ 523875 w 690562"/>
              <a:gd name="connsiteY24" fmla="*/ 319087 h 319087"/>
              <a:gd name="connsiteX25" fmla="*/ 526256 w 690562"/>
              <a:gd name="connsiteY25" fmla="*/ 302419 h 319087"/>
              <a:gd name="connsiteX26" fmla="*/ 535781 w 690562"/>
              <a:gd name="connsiteY26" fmla="*/ 290512 h 319087"/>
              <a:gd name="connsiteX27" fmla="*/ 528637 w 690562"/>
              <a:gd name="connsiteY27" fmla="*/ 261937 h 319087"/>
              <a:gd name="connsiteX28" fmla="*/ 509587 w 690562"/>
              <a:gd name="connsiteY28" fmla="*/ 257175 h 319087"/>
              <a:gd name="connsiteX29" fmla="*/ 490537 w 690562"/>
              <a:gd name="connsiteY29" fmla="*/ 235744 h 319087"/>
              <a:gd name="connsiteX30" fmla="*/ 481012 w 690562"/>
              <a:gd name="connsiteY30" fmla="*/ 202406 h 319087"/>
              <a:gd name="connsiteX31" fmla="*/ 461962 w 690562"/>
              <a:gd name="connsiteY31" fmla="*/ 154781 h 319087"/>
              <a:gd name="connsiteX32" fmla="*/ 457200 w 690562"/>
              <a:gd name="connsiteY32" fmla="*/ 126206 h 319087"/>
              <a:gd name="connsiteX33" fmla="*/ 457200 w 690562"/>
              <a:gd name="connsiteY33" fmla="*/ 111919 h 319087"/>
              <a:gd name="connsiteX34" fmla="*/ 469106 w 690562"/>
              <a:gd name="connsiteY34" fmla="*/ 100012 h 319087"/>
              <a:gd name="connsiteX35" fmla="*/ 476250 w 690562"/>
              <a:gd name="connsiteY35" fmla="*/ 78581 h 319087"/>
              <a:gd name="connsiteX36" fmla="*/ 497681 w 690562"/>
              <a:gd name="connsiteY36" fmla="*/ 73819 h 319087"/>
              <a:gd name="connsiteX37" fmla="*/ 500062 w 690562"/>
              <a:gd name="connsiteY37" fmla="*/ 92869 h 319087"/>
              <a:gd name="connsiteX38" fmla="*/ 495300 w 690562"/>
              <a:gd name="connsiteY38" fmla="*/ 107156 h 319087"/>
              <a:gd name="connsiteX39" fmla="*/ 509587 w 690562"/>
              <a:gd name="connsiteY39" fmla="*/ 116681 h 319087"/>
              <a:gd name="connsiteX40" fmla="*/ 509587 w 690562"/>
              <a:gd name="connsiteY40" fmla="*/ 126206 h 319087"/>
              <a:gd name="connsiteX41" fmla="*/ 504825 w 690562"/>
              <a:gd name="connsiteY41" fmla="*/ 147637 h 319087"/>
              <a:gd name="connsiteX42" fmla="*/ 502443 w 690562"/>
              <a:gd name="connsiteY42" fmla="*/ 154781 h 319087"/>
              <a:gd name="connsiteX43" fmla="*/ 523875 w 690562"/>
              <a:gd name="connsiteY43" fmla="*/ 171450 h 319087"/>
              <a:gd name="connsiteX44" fmla="*/ 531018 w 690562"/>
              <a:gd name="connsiteY44" fmla="*/ 185737 h 319087"/>
              <a:gd name="connsiteX45" fmla="*/ 545306 w 690562"/>
              <a:gd name="connsiteY45" fmla="*/ 190500 h 319087"/>
              <a:gd name="connsiteX46" fmla="*/ 531018 w 690562"/>
              <a:gd name="connsiteY46" fmla="*/ 204787 h 319087"/>
              <a:gd name="connsiteX47" fmla="*/ 528637 w 690562"/>
              <a:gd name="connsiteY47" fmla="*/ 216694 h 319087"/>
              <a:gd name="connsiteX48" fmla="*/ 547687 w 690562"/>
              <a:gd name="connsiteY48" fmla="*/ 235744 h 319087"/>
              <a:gd name="connsiteX49" fmla="*/ 547687 w 690562"/>
              <a:gd name="connsiteY49" fmla="*/ 235744 h 319087"/>
              <a:gd name="connsiteX50" fmla="*/ 581025 w 690562"/>
              <a:gd name="connsiteY50" fmla="*/ 247650 h 319087"/>
              <a:gd name="connsiteX51" fmla="*/ 595312 w 690562"/>
              <a:gd name="connsiteY51" fmla="*/ 242887 h 319087"/>
              <a:gd name="connsiteX52" fmla="*/ 602456 w 690562"/>
              <a:gd name="connsiteY52" fmla="*/ 264319 h 319087"/>
              <a:gd name="connsiteX53" fmla="*/ 602456 w 690562"/>
              <a:gd name="connsiteY53" fmla="*/ 292894 h 319087"/>
              <a:gd name="connsiteX54" fmla="*/ 611981 w 690562"/>
              <a:gd name="connsiteY54" fmla="*/ 297656 h 319087"/>
              <a:gd name="connsiteX55" fmla="*/ 631031 w 690562"/>
              <a:gd name="connsiteY55" fmla="*/ 297656 h 319087"/>
              <a:gd name="connsiteX56" fmla="*/ 650081 w 690562"/>
              <a:gd name="connsiteY56" fmla="*/ 285750 h 319087"/>
              <a:gd name="connsiteX57" fmla="*/ 669131 w 690562"/>
              <a:gd name="connsiteY57" fmla="*/ 278606 h 319087"/>
              <a:gd name="connsiteX58" fmla="*/ 681037 w 690562"/>
              <a:gd name="connsiteY58" fmla="*/ 278606 h 319087"/>
              <a:gd name="connsiteX59" fmla="*/ 690562 w 690562"/>
              <a:gd name="connsiteY59" fmla="*/ 204787 h 319087"/>
              <a:gd name="connsiteX60" fmla="*/ 614362 w 690562"/>
              <a:gd name="connsiteY60" fmla="*/ 228600 h 319087"/>
              <a:gd name="connsiteX61" fmla="*/ 600075 w 690562"/>
              <a:gd name="connsiteY61" fmla="*/ 173831 h 319087"/>
              <a:gd name="connsiteX62" fmla="*/ 583406 w 690562"/>
              <a:gd name="connsiteY62" fmla="*/ 145256 h 319087"/>
              <a:gd name="connsiteX63" fmla="*/ 585787 w 690562"/>
              <a:gd name="connsiteY63" fmla="*/ 121444 h 319087"/>
              <a:gd name="connsiteX64" fmla="*/ 566737 w 690562"/>
              <a:gd name="connsiteY64" fmla="*/ 83344 h 319087"/>
              <a:gd name="connsiteX65" fmla="*/ 561975 w 690562"/>
              <a:gd name="connsiteY65" fmla="*/ 50006 h 319087"/>
              <a:gd name="connsiteX66" fmla="*/ 533400 w 690562"/>
              <a:gd name="connsiteY66" fmla="*/ 0 h 319087"/>
              <a:gd name="connsiteX67" fmla="*/ 411956 w 690562"/>
              <a:gd name="connsiteY67" fmla="*/ 42862 h 319087"/>
              <a:gd name="connsiteX68" fmla="*/ 319087 w 690562"/>
              <a:gd name="connsiteY68" fmla="*/ 71437 h 319087"/>
              <a:gd name="connsiteX69" fmla="*/ 257175 w 690562"/>
              <a:gd name="connsiteY69" fmla="*/ 92869 h 319087"/>
              <a:gd name="connsiteX70" fmla="*/ 147637 w 690562"/>
              <a:gd name="connsiteY70" fmla="*/ 126206 h 319087"/>
              <a:gd name="connsiteX71" fmla="*/ 64293 w 690562"/>
              <a:gd name="connsiteY71" fmla="*/ 157162 h 319087"/>
              <a:gd name="connsiteX72" fmla="*/ 0 w 690562"/>
              <a:gd name="connsiteY72" fmla="*/ 180975 h 319087"/>
              <a:gd name="connsiteX0" fmla="*/ 0 w 690562"/>
              <a:gd name="connsiteY0" fmla="*/ 180975 h 319087"/>
              <a:gd name="connsiteX1" fmla="*/ 40481 w 690562"/>
              <a:gd name="connsiteY1" fmla="*/ 238125 h 319087"/>
              <a:gd name="connsiteX2" fmla="*/ 76200 w 690562"/>
              <a:gd name="connsiteY2" fmla="*/ 207169 h 319087"/>
              <a:gd name="connsiteX3" fmla="*/ 92868 w 690562"/>
              <a:gd name="connsiteY3" fmla="*/ 209550 h 319087"/>
              <a:gd name="connsiteX4" fmla="*/ 104775 w 690562"/>
              <a:gd name="connsiteY4" fmla="*/ 161925 h 319087"/>
              <a:gd name="connsiteX5" fmla="*/ 145256 w 690562"/>
              <a:gd name="connsiteY5" fmla="*/ 169069 h 319087"/>
              <a:gd name="connsiteX6" fmla="*/ 171450 w 690562"/>
              <a:gd name="connsiteY6" fmla="*/ 161925 h 319087"/>
              <a:gd name="connsiteX7" fmla="*/ 192881 w 690562"/>
              <a:gd name="connsiteY7" fmla="*/ 140494 h 319087"/>
              <a:gd name="connsiteX8" fmla="*/ 216693 w 690562"/>
              <a:gd name="connsiteY8" fmla="*/ 119062 h 319087"/>
              <a:gd name="connsiteX9" fmla="*/ 238125 w 690562"/>
              <a:gd name="connsiteY9" fmla="*/ 119062 h 319087"/>
              <a:gd name="connsiteX10" fmla="*/ 259556 w 690562"/>
              <a:gd name="connsiteY10" fmla="*/ 130969 h 319087"/>
              <a:gd name="connsiteX11" fmla="*/ 264318 w 690562"/>
              <a:gd name="connsiteY11" fmla="*/ 145256 h 319087"/>
              <a:gd name="connsiteX12" fmla="*/ 283368 w 690562"/>
              <a:gd name="connsiteY12" fmla="*/ 157162 h 319087"/>
              <a:gd name="connsiteX13" fmla="*/ 304800 w 690562"/>
              <a:gd name="connsiteY13" fmla="*/ 154817 h 319087"/>
              <a:gd name="connsiteX14" fmla="*/ 361950 w 690562"/>
              <a:gd name="connsiteY14" fmla="*/ 195297 h 319087"/>
              <a:gd name="connsiteX15" fmla="*/ 397668 w 690562"/>
              <a:gd name="connsiteY15" fmla="*/ 214312 h 319087"/>
              <a:gd name="connsiteX16" fmla="*/ 402431 w 690562"/>
              <a:gd name="connsiteY16" fmla="*/ 235744 h 319087"/>
              <a:gd name="connsiteX17" fmla="*/ 400050 w 690562"/>
              <a:gd name="connsiteY17" fmla="*/ 264319 h 319087"/>
              <a:gd name="connsiteX18" fmla="*/ 388143 w 690562"/>
              <a:gd name="connsiteY18" fmla="*/ 290512 h 319087"/>
              <a:gd name="connsiteX19" fmla="*/ 409575 w 690562"/>
              <a:gd name="connsiteY19" fmla="*/ 302419 h 319087"/>
              <a:gd name="connsiteX20" fmla="*/ 419100 w 690562"/>
              <a:gd name="connsiteY20" fmla="*/ 302419 h 319087"/>
              <a:gd name="connsiteX21" fmla="*/ 438150 w 690562"/>
              <a:gd name="connsiteY21" fmla="*/ 290512 h 319087"/>
              <a:gd name="connsiteX22" fmla="*/ 473868 w 690562"/>
              <a:gd name="connsiteY22" fmla="*/ 309562 h 319087"/>
              <a:gd name="connsiteX23" fmla="*/ 523875 w 690562"/>
              <a:gd name="connsiteY23" fmla="*/ 319087 h 319087"/>
              <a:gd name="connsiteX24" fmla="*/ 526256 w 690562"/>
              <a:gd name="connsiteY24" fmla="*/ 302419 h 319087"/>
              <a:gd name="connsiteX25" fmla="*/ 535781 w 690562"/>
              <a:gd name="connsiteY25" fmla="*/ 290512 h 319087"/>
              <a:gd name="connsiteX26" fmla="*/ 528637 w 690562"/>
              <a:gd name="connsiteY26" fmla="*/ 261937 h 319087"/>
              <a:gd name="connsiteX27" fmla="*/ 509587 w 690562"/>
              <a:gd name="connsiteY27" fmla="*/ 257175 h 319087"/>
              <a:gd name="connsiteX28" fmla="*/ 490537 w 690562"/>
              <a:gd name="connsiteY28" fmla="*/ 235744 h 319087"/>
              <a:gd name="connsiteX29" fmla="*/ 481012 w 690562"/>
              <a:gd name="connsiteY29" fmla="*/ 202406 h 319087"/>
              <a:gd name="connsiteX30" fmla="*/ 461962 w 690562"/>
              <a:gd name="connsiteY30" fmla="*/ 154781 h 319087"/>
              <a:gd name="connsiteX31" fmla="*/ 457200 w 690562"/>
              <a:gd name="connsiteY31" fmla="*/ 126206 h 319087"/>
              <a:gd name="connsiteX32" fmla="*/ 457200 w 690562"/>
              <a:gd name="connsiteY32" fmla="*/ 111919 h 319087"/>
              <a:gd name="connsiteX33" fmla="*/ 469106 w 690562"/>
              <a:gd name="connsiteY33" fmla="*/ 100012 h 319087"/>
              <a:gd name="connsiteX34" fmla="*/ 476250 w 690562"/>
              <a:gd name="connsiteY34" fmla="*/ 78581 h 319087"/>
              <a:gd name="connsiteX35" fmla="*/ 497681 w 690562"/>
              <a:gd name="connsiteY35" fmla="*/ 73819 h 319087"/>
              <a:gd name="connsiteX36" fmla="*/ 500062 w 690562"/>
              <a:gd name="connsiteY36" fmla="*/ 92869 h 319087"/>
              <a:gd name="connsiteX37" fmla="*/ 495300 w 690562"/>
              <a:gd name="connsiteY37" fmla="*/ 107156 h 319087"/>
              <a:gd name="connsiteX38" fmla="*/ 509587 w 690562"/>
              <a:gd name="connsiteY38" fmla="*/ 116681 h 319087"/>
              <a:gd name="connsiteX39" fmla="*/ 509587 w 690562"/>
              <a:gd name="connsiteY39" fmla="*/ 126206 h 319087"/>
              <a:gd name="connsiteX40" fmla="*/ 504825 w 690562"/>
              <a:gd name="connsiteY40" fmla="*/ 147637 h 319087"/>
              <a:gd name="connsiteX41" fmla="*/ 502443 w 690562"/>
              <a:gd name="connsiteY41" fmla="*/ 154781 h 319087"/>
              <a:gd name="connsiteX42" fmla="*/ 523875 w 690562"/>
              <a:gd name="connsiteY42" fmla="*/ 171450 h 319087"/>
              <a:gd name="connsiteX43" fmla="*/ 531018 w 690562"/>
              <a:gd name="connsiteY43" fmla="*/ 185737 h 319087"/>
              <a:gd name="connsiteX44" fmla="*/ 545306 w 690562"/>
              <a:gd name="connsiteY44" fmla="*/ 190500 h 319087"/>
              <a:gd name="connsiteX45" fmla="*/ 531018 w 690562"/>
              <a:gd name="connsiteY45" fmla="*/ 204787 h 319087"/>
              <a:gd name="connsiteX46" fmla="*/ 528637 w 690562"/>
              <a:gd name="connsiteY46" fmla="*/ 216694 h 319087"/>
              <a:gd name="connsiteX47" fmla="*/ 547687 w 690562"/>
              <a:gd name="connsiteY47" fmla="*/ 235744 h 319087"/>
              <a:gd name="connsiteX48" fmla="*/ 547687 w 690562"/>
              <a:gd name="connsiteY48" fmla="*/ 235744 h 319087"/>
              <a:gd name="connsiteX49" fmla="*/ 581025 w 690562"/>
              <a:gd name="connsiteY49" fmla="*/ 247650 h 319087"/>
              <a:gd name="connsiteX50" fmla="*/ 595312 w 690562"/>
              <a:gd name="connsiteY50" fmla="*/ 242887 h 319087"/>
              <a:gd name="connsiteX51" fmla="*/ 602456 w 690562"/>
              <a:gd name="connsiteY51" fmla="*/ 264319 h 319087"/>
              <a:gd name="connsiteX52" fmla="*/ 602456 w 690562"/>
              <a:gd name="connsiteY52" fmla="*/ 292894 h 319087"/>
              <a:gd name="connsiteX53" fmla="*/ 611981 w 690562"/>
              <a:gd name="connsiteY53" fmla="*/ 297656 h 319087"/>
              <a:gd name="connsiteX54" fmla="*/ 631031 w 690562"/>
              <a:gd name="connsiteY54" fmla="*/ 297656 h 319087"/>
              <a:gd name="connsiteX55" fmla="*/ 650081 w 690562"/>
              <a:gd name="connsiteY55" fmla="*/ 285750 h 319087"/>
              <a:gd name="connsiteX56" fmla="*/ 669131 w 690562"/>
              <a:gd name="connsiteY56" fmla="*/ 278606 h 319087"/>
              <a:gd name="connsiteX57" fmla="*/ 681037 w 690562"/>
              <a:gd name="connsiteY57" fmla="*/ 278606 h 319087"/>
              <a:gd name="connsiteX58" fmla="*/ 690562 w 690562"/>
              <a:gd name="connsiteY58" fmla="*/ 204787 h 319087"/>
              <a:gd name="connsiteX59" fmla="*/ 614362 w 690562"/>
              <a:gd name="connsiteY59" fmla="*/ 228600 h 319087"/>
              <a:gd name="connsiteX60" fmla="*/ 600075 w 690562"/>
              <a:gd name="connsiteY60" fmla="*/ 173831 h 319087"/>
              <a:gd name="connsiteX61" fmla="*/ 583406 w 690562"/>
              <a:gd name="connsiteY61" fmla="*/ 145256 h 319087"/>
              <a:gd name="connsiteX62" fmla="*/ 585787 w 690562"/>
              <a:gd name="connsiteY62" fmla="*/ 121444 h 319087"/>
              <a:gd name="connsiteX63" fmla="*/ 566737 w 690562"/>
              <a:gd name="connsiteY63" fmla="*/ 83344 h 319087"/>
              <a:gd name="connsiteX64" fmla="*/ 561975 w 690562"/>
              <a:gd name="connsiteY64" fmla="*/ 50006 h 319087"/>
              <a:gd name="connsiteX65" fmla="*/ 533400 w 690562"/>
              <a:gd name="connsiteY65" fmla="*/ 0 h 319087"/>
              <a:gd name="connsiteX66" fmla="*/ 411956 w 690562"/>
              <a:gd name="connsiteY66" fmla="*/ 42862 h 319087"/>
              <a:gd name="connsiteX67" fmla="*/ 319087 w 690562"/>
              <a:gd name="connsiteY67" fmla="*/ 71437 h 319087"/>
              <a:gd name="connsiteX68" fmla="*/ 257175 w 690562"/>
              <a:gd name="connsiteY68" fmla="*/ 92869 h 319087"/>
              <a:gd name="connsiteX69" fmla="*/ 147637 w 690562"/>
              <a:gd name="connsiteY69" fmla="*/ 126206 h 319087"/>
              <a:gd name="connsiteX70" fmla="*/ 64293 w 690562"/>
              <a:gd name="connsiteY70" fmla="*/ 157162 h 319087"/>
              <a:gd name="connsiteX71" fmla="*/ 0 w 690562"/>
              <a:gd name="connsiteY71" fmla="*/ 180975 h 319087"/>
              <a:gd name="connsiteX0" fmla="*/ 0 w 690562"/>
              <a:gd name="connsiteY0" fmla="*/ 180975 h 333493"/>
              <a:gd name="connsiteX1" fmla="*/ 40481 w 690562"/>
              <a:gd name="connsiteY1" fmla="*/ 238125 h 333493"/>
              <a:gd name="connsiteX2" fmla="*/ 76200 w 690562"/>
              <a:gd name="connsiteY2" fmla="*/ 207169 h 333493"/>
              <a:gd name="connsiteX3" fmla="*/ 92868 w 690562"/>
              <a:gd name="connsiteY3" fmla="*/ 209550 h 333493"/>
              <a:gd name="connsiteX4" fmla="*/ 104775 w 690562"/>
              <a:gd name="connsiteY4" fmla="*/ 161925 h 333493"/>
              <a:gd name="connsiteX5" fmla="*/ 145256 w 690562"/>
              <a:gd name="connsiteY5" fmla="*/ 169069 h 333493"/>
              <a:gd name="connsiteX6" fmla="*/ 171450 w 690562"/>
              <a:gd name="connsiteY6" fmla="*/ 161925 h 333493"/>
              <a:gd name="connsiteX7" fmla="*/ 192881 w 690562"/>
              <a:gd name="connsiteY7" fmla="*/ 140494 h 333493"/>
              <a:gd name="connsiteX8" fmla="*/ 216693 w 690562"/>
              <a:gd name="connsiteY8" fmla="*/ 119062 h 333493"/>
              <a:gd name="connsiteX9" fmla="*/ 238125 w 690562"/>
              <a:gd name="connsiteY9" fmla="*/ 119062 h 333493"/>
              <a:gd name="connsiteX10" fmla="*/ 259556 w 690562"/>
              <a:gd name="connsiteY10" fmla="*/ 130969 h 333493"/>
              <a:gd name="connsiteX11" fmla="*/ 264318 w 690562"/>
              <a:gd name="connsiteY11" fmla="*/ 145256 h 333493"/>
              <a:gd name="connsiteX12" fmla="*/ 283368 w 690562"/>
              <a:gd name="connsiteY12" fmla="*/ 157162 h 333493"/>
              <a:gd name="connsiteX13" fmla="*/ 304800 w 690562"/>
              <a:gd name="connsiteY13" fmla="*/ 154817 h 333493"/>
              <a:gd name="connsiteX14" fmla="*/ 361950 w 690562"/>
              <a:gd name="connsiteY14" fmla="*/ 195297 h 333493"/>
              <a:gd name="connsiteX15" fmla="*/ 397668 w 690562"/>
              <a:gd name="connsiteY15" fmla="*/ 214312 h 333493"/>
              <a:gd name="connsiteX16" fmla="*/ 402431 w 690562"/>
              <a:gd name="connsiteY16" fmla="*/ 235744 h 333493"/>
              <a:gd name="connsiteX17" fmla="*/ 400050 w 690562"/>
              <a:gd name="connsiteY17" fmla="*/ 264319 h 333493"/>
              <a:gd name="connsiteX18" fmla="*/ 388143 w 690562"/>
              <a:gd name="connsiteY18" fmla="*/ 290512 h 333493"/>
              <a:gd name="connsiteX19" fmla="*/ 409575 w 690562"/>
              <a:gd name="connsiteY19" fmla="*/ 302419 h 333493"/>
              <a:gd name="connsiteX20" fmla="*/ 419100 w 690562"/>
              <a:gd name="connsiteY20" fmla="*/ 302419 h 333493"/>
              <a:gd name="connsiteX21" fmla="*/ 438150 w 690562"/>
              <a:gd name="connsiteY21" fmla="*/ 290512 h 333493"/>
              <a:gd name="connsiteX22" fmla="*/ 473868 w 690562"/>
              <a:gd name="connsiteY22" fmla="*/ 333493 h 333493"/>
              <a:gd name="connsiteX23" fmla="*/ 523875 w 690562"/>
              <a:gd name="connsiteY23" fmla="*/ 319087 h 333493"/>
              <a:gd name="connsiteX24" fmla="*/ 526256 w 690562"/>
              <a:gd name="connsiteY24" fmla="*/ 302419 h 333493"/>
              <a:gd name="connsiteX25" fmla="*/ 535781 w 690562"/>
              <a:gd name="connsiteY25" fmla="*/ 290512 h 333493"/>
              <a:gd name="connsiteX26" fmla="*/ 528637 w 690562"/>
              <a:gd name="connsiteY26" fmla="*/ 261937 h 333493"/>
              <a:gd name="connsiteX27" fmla="*/ 509587 w 690562"/>
              <a:gd name="connsiteY27" fmla="*/ 257175 h 333493"/>
              <a:gd name="connsiteX28" fmla="*/ 490537 w 690562"/>
              <a:gd name="connsiteY28" fmla="*/ 235744 h 333493"/>
              <a:gd name="connsiteX29" fmla="*/ 481012 w 690562"/>
              <a:gd name="connsiteY29" fmla="*/ 202406 h 333493"/>
              <a:gd name="connsiteX30" fmla="*/ 461962 w 690562"/>
              <a:gd name="connsiteY30" fmla="*/ 154781 h 333493"/>
              <a:gd name="connsiteX31" fmla="*/ 457200 w 690562"/>
              <a:gd name="connsiteY31" fmla="*/ 126206 h 333493"/>
              <a:gd name="connsiteX32" fmla="*/ 457200 w 690562"/>
              <a:gd name="connsiteY32" fmla="*/ 111919 h 333493"/>
              <a:gd name="connsiteX33" fmla="*/ 469106 w 690562"/>
              <a:gd name="connsiteY33" fmla="*/ 100012 h 333493"/>
              <a:gd name="connsiteX34" fmla="*/ 476250 w 690562"/>
              <a:gd name="connsiteY34" fmla="*/ 78581 h 333493"/>
              <a:gd name="connsiteX35" fmla="*/ 497681 w 690562"/>
              <a:gd name="connsiteY35" fmla="*/ 73819 h 333493"/>
              <a:gd name="connsiteX36" fmla="*/ 500062 w 690562"/>
              <a:gd name="connsiteY36" fmla="*/ 92869 h 333493"/>
              <a:gd name="connsiteX37" fmla="*/ 495300 w 690562"/>
              <a:gd name="connsiteY37" fmla="*/ 107156 h 333493"/>
              <a:gd name="connsiteX38" fmla="*/ 509587 w 690562"/>
              <a:gd name="connsiteY38" fmla="*/ 116681 h 333493"/>
              <a:gd name="connsiteX39" fmla="*/ 509587 w 690562"/>
              <a:gd name="connsiteY39" fmla="*/ 126206 h 333493"/>
              <a:gd name="connsiteX40" fmla="*/ 504825 w 690562"/>
              <a:gd name="connsiteY40" fmla="*/ 147637 h 333493"/>
              <a:gd name="connsiteX41" fmla="*/ 502443 w 690562"/>
              <a:gd name="connsiteY41" fmla="*/ 154781 h 333493"/>
              <a:gd name="connsiteX42" fmla="*/ 523875 w 690562"/>
              <a:gd name="connsiteY42" fmla="*/ 171450 h 333493"/>
              <a:gd name="connsiteX43" fmla="*/ 531018 w 690562"/>
              <a:gd name="connsiteY43" fmla="*/ 185737 h 333493"/>
              <a:gd name="connsiteX44" fmla="*/ 545306 w 690562"/>
              <a:gd name="connsiteY44" fmla="*/ 190500 h 333493"/>
              <a:gd name="connsiteX45" fmla="*/ 531018 w 690562"/>
              <a:gd name="connsiteY45" fmla="*/ 204787 h 333493"/>
              <a:gd name="connsiteX46" fmla="*/ 528637 w 690562"/>
              <a:gd name="connsiteY46" fmla="*/ 216694 h 333493"/>
              <a:gd name="connsiteX47" fmla="*/ 547687 w 690562"/>
              <a:gd name="connsiteY47" fmla="*/ 235744 h 333493"/>
              <a:gd name="connsiteX48" fmla="*/ 547687 w 690562"/>
              <a:gd name="connsiteY48" fmla="*/ 235744 h 333493"/>
              <a:gd name="connsiteX49" fmla="*/ 581025 w 690562"/>
              <a:gd name="connsiteY49" fmla="*/ 247650 h 333493"/>
              <a:gd name="connsiteX50" fmla="*/ 595312 w 690562"/>
              <a:gd name="connsiteY50" fmla="*/ 242887 h 333493"/>
              <a:gd name="connsiteX51" fmla="*/ 602456 w 690562"/>
              <a:gd name="connsiteY51" fmla="*/ 264319 h 333493"/>
              <a:gd name="connsiteX52" fmla="*/ 602456 w 690562"/>
              <a:gd name="connsiteY52" fmla="*/ 292894 h 333493"/>
              <a:gd name="connsiteX53" fmla="*/ 611981 w 690562"/>
              <a:gd name="connsiteY53" fmla="*/ 297656 h 333493"/>
              <a:gd name="connsiteX54" fmla="*/ 631031 w 690562"/>
              <a:gd name="connsiteY54" fmla="*/ 297656 h 333493"/>
              <a:gd name="connsiteX55" fmla="*/ 650081 w 690562"/>
              <a:gd name="connsiteY55" fmla="*/ 285750 h 333493"/>
              <a:gd name="connsiteX56" fmla="*/ 669131 w 690562"/>
              <a:gd name="connsiteY56" fmla="*/ 278606 h 333493"/>
              <a:gd name="connsiteX57" fmla="*/ 681037 w 690562"/>
              <a:gd name="connsiteY57" fmla="*/ 278606 h 333493"/>
              <a:gd name="connsiteX58" fmla="*/ 690562 w 690562"/>
              <a:gd name="connsiteY58" fmla="*/ 204787 h 333493"/>
              <a:gd name="connsiteX59" fmla="*/ 614362 w 690562"/>
              <a:gd name="connsiteY59" fmla="*/ 228600 h 333493"/>
              <a:gd name="connsiteX60" fmla="*/ 600075 w 690562"/>
              <a:gd name="connsiteY60" fmla="*/ 173831 h 333493"/>
              <a:gd name="connsiteX61" fmla="*/ 583406 w 690562"/>
              <a:gd name="connsiteY61" fmla="*/ 145256 h 333493"/>
              <a:gd name="connsiteX62" fmla="*/ 585787 w 690562"/>
              <a:gd name="connsiteY62" fmla="*/ 121444 h 333493"/>
              <a:gd name="connsiteX63" fmla="*/ 566737 w 690562"/>
              <a:gd name="connsiteY63" fmla="*/ 83344 h 333493"/>
              <a:gd name="connsiteX64" fmla="*/ 561975 w 690562"/>
              <a:gd name="connsiteY64" fmla="*/ 50006 h 333493"/>
              <a:gd name="connsiteX65" fmla="*/ 533400 w 690562"/>
              <a:gd name="connsiteY65" fmla="*/ 0 h 333493"/>
              <a:gd name="connsiteX66" fmla="*/ 411956 w 690562"/>
              <a:gd name="connsiteY66" fmla="*/ 42862 h 333493"/>
              <a:gd name="connsiteX67" fmla="*/ 319087 w 690562"/>
              <a:gd name="connsiteY67" fmla="*/ 71437 h 333493"/>
              <a:gd name="connsiteX68" fmla="*/ 257175 w 690562"/>
              <a:gd name="connsiteY68" fmla="*/ 92869 h 333493"/>
              <a:gd name="connsiteX69" fmla="*/ 147637 w 690562"/>
              <a:gd name="connsiteY69" fmla="*/ 126206 h 333493"/>
              <a:gd name="connsiteX70" fmla="*/ 64293 w 690562"/>
              <a:gd name="connsiteY70" fmla="*/ 157162 h 333493"/>
              <a:gd name="connsiteX71" fmla="*/ 0 w 690562"/>
              <a:gd name="connsiteY71" fmla="*/ 180975 h 333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690562" h="333493">
                <a:moveTo>
                  <a:pt x="0" y="180975"/>
                </a:moveTo>
                <a:lnTo>
                  <a:pt x="40481" y="238125"/>
                </a:lnTo>
                <a:lnTo>
                  <a:pt x="76200" y="207169"/>
                </a:lnTo>
                <a:lnTo>
                  <a:pt x="92868" y="209550"/>
                </a:lnTo>
                <a:lnTo>
                  <a:pt x="104775" y="161925"/>
                </a:lnTo>
                <a:lnTo>
                  <a:pt x="145256" y="169069"/>
                </a:lnTo>
                <a:lnTo>
                  <a:pt x="171450" y="161925"/>
                </a:lnTo>
                <a:lnTo>
                  <a:pt x="192881" y="140494"/>
                </a:lnTo>
                <a:lnTo>
                  <a:pt x="216693" y="119062"/>
                </a:lnTo>
                <a:lnTo>
                  <a:pt x="238125" y="119062"/>
                </a:lnTo>
                <a:lnTo>
                  <a:pt x="259556" y="130969"/>
                </a:lnTo>
                <a:lnTo>
                  <a:pt x="264318" y="145256"/>
                </a:lnTo>
                <a:lnTo>
                  <a:pt x="283368" y="157162"/>
                </a:lnTo>
                <a:lnTo>
                  <a:pt x="304800" y="154817"/>
                </a:lnTo>
                <a:lnTo>
                  <a:pt x="361950" y="195297"/>
                </a:lnTo>
                <a:lnTo>
                  <a:pt x="397668" y="214312"/>
                </a:lnTo>
                <a:lnTo>
                  <a:pt x="402431" y="235744"/>
                </a:lnTo>
                <a:lnTo>
                  <a:pt x="400050" y="264319"/>
                </a:lnTo>
                <a:lnTo>
                  <a:pt x="388143" y="290512"/>
                </a:lnTo>
                <a:lnTo>
                  <a:pt x="409575" y="302419"/>
                </a:lnTo>
                <a:lnTo>
                  <a:pt x="419100" y="302419"/>
                </a:lnTo>
                <a:lnTo>
                  <a:pt x="438150" y="290512"/>
                </a:lnTo>
                <a:lnTo>
                  <a:pt x="473868" y="333493"/>
                </a:lnTo>
                <a:lnTo>
                  <a:pt x="523875" y="319087"/>
                </a:lnTo>
                <a:lnTo>
                  <a:pt x="526256" y="302419"/>
                </a:lnTo>
                <a:lnTo>
                  <a:pt x="535781" y="290512"/>
                </a:lnTo>
                <a:lnTo>
                  <a:pt x="528637" y="261937"/>
                </a:lnTo>
                <a:lnTo>
                  <a:pt x="509587" y="257175"/>
                </a:lnTo>
                <a:lnTo>
                  <a:pt x="490537" y="235744"/>
                </a:lnTo>
                <a:lnTo>
                  <a:pt x="481012" y="202406"/>
                </a:lnTo>
                <a:lnTo>
                  <a:pt x="461962" y="154781"/>
                </a:lnTo>
                <a:lnTo>
                  <a:pt x="457200" y="126206"/>
                </a:lnTo>
                <a:lnTo>
                  <a:pt x="457200" y="111919"/>
                </a:lnTo>
                <a:lnTo>
                  <a:pt x="469106" y="100012"/>
                </a:lnTo>
                <a:lnTo>
                  <a:pt x="476250" y="78581"/>
                </a:lnTo>
                <a:lnTo>
                  <a:pt x="497681" y="73819"/>
                </a:lnTo>
                <a:lnTo>
                  <a:pt x="500062" y="92869"/>
                </a:lnTo>
                <a:lnTo>
                  <a:pt x="495300" y="107156"/>
                </a:lnTo>
                <a:lnTo>
                  <a:pt x="509587" y="116681"/>
                </a:lnTo>
                <a:lnTo>
                  <a:pt x="509587" y="126206"/>
                </a:lnTo>
                <a:lnTo>
                  <a:pt x="504825" y="147637"/>
                </a:lnTo>
                <a:lnTo>
                  <a:pt x="502443" y="154781"/>
                </a:lnTo>
                <a:lnTo>
                  <a:pt x="523875" y="171450"/>
                </a:lnTo>
                <a:lnTo>
                  <a:pt x="531018" y="185737"/>
                </a:lnTo>
                <a:lnTo>
                  <a:pt x="545306" y="190500"/>
                </a:lnTo>
                <a:lnTo>
                  <a:pt x="531018" y="204787"/>
                </a:lnTo>
                <a:lnTo>
                  <a:pt x="528637" y="216694"/>
                </a:lnTo>
                <a:lnTo>
                  <a:pt x="547687" y="235744"/>
                </a:lnTo>
                <a:lnTo>
                  <a:pt x="547687" y="235744"/>
                </a:lnTo>
                <a:lnTo>
                  <a:pt x="581025" y="247650"/>
                </a:lnTo>
                <a:lnTo>
                  <a:pt x="595312" y="242887"/>
                </a:lnTo>
                <a:lnTo>
                  <a:pt x="602456" y="264319"/>
                </a:lnTo>
                <a:lnTo>
                  <a:pt x="602456" y="292894"/>
                </a:lnTo>
                <a:lnTo>
                  <a:pt x="611981" y="297656"/>
                </a:lnTo>
                <a:lnTo>
                  <a:pt x="631031" y="297656"/>
                </a:lnTo>
                <a:lnTo>
                  <a:pt x="650081" y="285750"/>
                </a:lnTo>
                <a:lnTo>
                  <a:pt x="669131" y="278606"/>
                </a:lnTo>
                <a:lnTo>
                  <a:pt x="681037" y="278606"/>
                </a:lnTo>
                <a:lnTo>
                  <a:pt x="690562" y="204787"/>
                </a:lnTo>
                <a:lnTo>
                  <a:pt x="614362" y="228600"/>
                </a:lnTo>
                <a:lnTo>
                  <a:pt x="600075" y="173831"/>
                </a:lnTo>
                <a:lnTo>
                  <a:pt x="583406" y="145256"/>
                </a:lnTo>
                <a:lnTo>
                  <a:pt x="585787" y="121444"/>
                </a:lnTo>
                <a:lnTo>
                  <a:pt x="566737" y="83344"/>
                </a:lnTo>
                <a:lnTo>
                  <a:pt x="561975" y="50006"/>
                </a:lnTo>
                <a:lnTo>
                  <a:pt x="533400" y="0"/>
                </a:lnTo>
                <a:lnTo>
                  <a:pt x="411956" y="42862"/>
                </a:lnTo>
                <a:lnTo>
                  <a:pt x="319087" y="71437"/>
                </a:lnTo>
                <a:lnTo>
                  <a:pt x="257175" y="92869"/>
                </a:lnTo>
                <a:lnTo>
                  <a:pt x="147637" y="126206"/>
                </a:lnTo>
                <a:lnTo>
                  <a:pt x="64293" y="157162"/>
                </a:lnTo>
                <a:lnTo>
                  <a:pt x="0" y="18097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6965369" y="2708292"/>
            <a:ext cx="871370" cy="637321"/>
          </a:xfrm>
          <a:custGeom>
            <a:avLst/>
            <a:gdLst>
              <a:gd name="connsiteX0" fmla="*/ 0 w 895350"/>
              <a:gd name="connsiteY0" fmla="*/ 230981 h 647700"/>
              <a:gd name="connsiteX1" fmla="*/ 69056 w 895350"/>
              <a:gd name="connsiteY1" fmla="*/ 461962 h 647700"/>
              <a:gd name="connsiteX2" fmla="*/ 128587 w 895350"/>
              <a:gd name="connsiteY2" fmla="*/ 647700 h 647700"/>
              <a:gd name="connsiteX3" fmla="*/ 461962 w 895350"/>
              <a:gd name="connsiteY3" fmla="*/ 554831 h 647700"/>
              <a:gd name="connsiteX4" fmla="*/ 840581 w 895350"/>
              <a:gd name="connsiteY4" fmla="*/ 426244 h 647700"/>
              <a:gd name="connsiteX5" fmla="*/ 859631 w 895350"/>
              <a:gd name="connsiteY5" fmla="*/ 354806 h 647700"/>
              <a:gd name="connsiteX6" fmla="*/ 895350 w 895350"/>
              <a:gd name="connsiteY6" fmla="*/ 321469 h 647700"/>
              <a:gd name="connsiteX7" fmla="*/ 885825 w 895350"/>
              <a:gd name="connsiteY7" fmla="*/ 273844 h 647700"/>
              <a:gd name="connsiteX8" fmla="*/ 819150 w 895350"/>
              <a:gd name="connsiteY8" fmla="*/ 257175 h 647700"/>
              <a:gd name="connsiteX9" fmla="*/ 819150 w 895350"/>
              <a:gd name="connsiteY9" fmla="*/ 223837 h 647700"/>
              <a:gd name="connsiteX10" fmla="*/ 804862 w 895350"/>
              <a:gd name="connsiteY10" fmla="*/ 188119 h 647700"/>
              <a:gd name="connsiteX11" fmla="*/ 816769 w 895350"/>
              <a:gd name="connsiteY11" fmla="*/ 80962 h 647700"/>
              <a:gd name="connsiteX12" fmla="*/ 781050 w 895350"/>
              <a:gd name="connsiteY12" fmla="*/ 40481 h 647700"/>
              <a:gd name="connsiteX13" fmla="*/ 733425 w 895350"/>
              <a:gd name="connsiteY13" fmla="*/ 9525 h 647700"/>
              <a:gd name="connsiteX14" fmla="*/ 702469 w 895350"/>
              <a:gd name="connsiteY14" fmla="*/ 0 h 647700"/>
              <a:gd name="connsiteX15" fmla="*/ 397669 w 895350"/>
              <a:gd name="connsiteY15" fmla="*/ 95250 h 647700"/>
              <a:gd name="connsiteX16" fmla="*/ 50006 w 895350"/>
              <a:gd name="connsiteY16" fmla="*/ 200025 h 647700"/>
              <a:gd name="connsiteX17" fmla="*/ 40481 w 895350"/>
              <a:gd name="connsiteY17" fmla="*/ 195262 h 647700"/>
              <a:gd name="connsiteX18" fmla="*/ 0 w 895350"/>
              <a:gd name="connsiteY18" fmla="*/ 230981 h 647700"/>
              <a:gd name="connsiteX0" fmla="*/ 0 w 895350"/>
              <a:gd name="connsiteY0" fmla="*/ 230981 h 647700"/>
              <a:gd name="connsiteX1" fmla="*/ 69056 w 895350"/>
              <a:gd name="connsiteY1" fmla="*/ 461962 h 647700"/>
              <a:gd name="connsiteX2" fmla="*/ 128587 w 895350"/>
              <a:gd name="connsiteY2" fmla="*/ 647700 h 647700"/>
              <a:gd name="connsiteX3" fmla="*/ 461962 w 895350"/>
              <a:gd name="connsiteY3" fmla="*/ 554831 h 647700"/>
              <a:gd name="connsiteX4" fmla="*/ 840581 w 895350"/>
              <a:gd name="connsiteY4" fmla="*/ 426244 h 647700"/>
              <a:gd name="connsiteX5" fmla="*/ 859631 w 895350"/>
              <a:gd name="connsiteY5" fmla="*/ 354806 h 647700"/>
              <a:gd name="connsiteX6" fmla="*/ 895350 w 895350"/>
              <a:gd name="connsiteY6" fmla="*/ 321469 h 647700"/>
              <a:gd name="connsiteX7" fmla="*/ 885825 w 895350"/>
              <a:gd name="connsiteY7" fmla="*/ 273844 h 647700"/>
              <a:gd name="connsiteX8" fmla="*/ 819150 w 895350"/>
              <a:gd name="connsiteY8" fmla="*/ 257175 h 647700"/>
              <a:gd name="connsiteX9" fmla="*/ 819150 w 895350"/>
              <a:gd name="connsiteY9" fmla="*/ 223837 h 647700"/>
              <a:gd name="connsiteX10" fmla="*/ 804862 w 895350"/>
              <a:gd name="connsiteY10" fmla="*/ 188119 h 647700"/>
              <a:gd name="connsiteX11" fmla="*/ 816769 w 895350"/>
              <a:gd name="connsiteY11" fmla="*/ 80962 h 647700"/>
              <a:gd name="connsiteX12" fmla="*/ 781050 w 895350"/>
              <a:gd name="connsiteY12" fmla="*/ 40481 h 647700"/>
              <a:gd name="connsiteX13" fmla="*/ 733425 w 895350"/>
              <a:gd name="connsiteY13" fmla="*/ 9525 h 647700"/>
              <a:gd name="connsiteX14" fmla="*/ 702469 w 895350"/>
              <a:gd name="connsiteY14" fmla="*/ 0 h 647700"/>
              <a:gd name="connsiteX15" fmla="*/ 397669 w 895350"/>
              <a:gd name="connsiteY15" fmla="*/ 95250 h 647700"/>
              <a:gd name="connsiteX16" fmla="*/ 64293 w 895350"/>
              <a:gd name="connsiteY16" fmla="*/ 188118 h 647700"/>
              <a:gd name="connsiteX17" fmla="*/ 40481 w 895350"/>
              <a:gd name="connsiteY17" fmla="*/ 195262 h 647700"/>
              <a:gd name="connsiteX18" fmla="*/ 0 w 895350"/>
              <a:gd name="connsiteY18" fmla="*/ 230981 h 647700"/>
              <a:gd name="connsiteX0" fmla="*/ 0 w 902493"/>
              <a:gd name="connsiteY0" fmla="*/ 245268 h 647700"/>
              <a:gd name="connsiteX1" fmla="*/ 76199 w 902493"/>
              <a:gd name="connsiteY1" fmla="*/ 461962 h 647700"/>
              <a:gd name="connsiteX2" fmla="*/ 135730 w 902493"/>
              <a:gd name="connsiteY2" fmla="*/ 647700 h 647700"/>
              <a:gd name="connsiteX3" fmla="*/ 469105 w 902493"/>
              <a:gd name="connsiteY3" fmla="*/ 554831 h 647700"/>
              <a:gd name="connsiteX4" fmla="*/ 847724 w 902493"/>
              <a:gd name="connsiteY4" fmla="*/ 426244 h 647700"/>
              <a:gd name="connsiteX5" fmla="*/ 866774 w 902493"/>
              <a:gd name="connsiteY5" fmla="*/ 354806 h 647700"/>
              <a:gd name="connsiteX6" fmla="*/ 902493 w 902493"/>
              <a:gd name="connsiteY6" fmla="*/ 321469 h 647700"/>
              <a:gd name="connsiteX7" fmla="*/ 892968 w 902493"/>
              <a:gd name="connsiteY7" fmla="*/ 273844 h 647700"/>
              <a:gd name="connsiteX8" fmla="*/ 826293 w 902493"/>
              <a:gd name="connsiteY8" fmla="*/ 257175 h 647700"/>
              <a:gd name="connsiteX9" fmla="*/ 826293 w 902493"/>
              <a:gd name="connsiteY9" fmla="*/ 223837 h 647700"/>
              <a:gd name="connsiteX10" fmla="*/ 812005 w 902493"/>
              <a:gd name="connsiteY10" fmla="*/ 188119 h 647700"/>
              <a:gd name="connsiteX11" fmla="*/ 823912 w 902493"/>
              <a:gd name="connsiteY11" fmla="*/ 80962 h 647700"/>
              <a:gd name="connsiteX12" fmla="*/ 788193 w 902493"/>
              <a:gd name="connsiteY12" fmla="*/ 40481 h 647700"/>
              <a:gd name="connsiteX13" fmla="*/ 740568 w 902493"/>
              <a:gd name="connsiteY13" fmla="*/ 9525 h 647700"/>
              <a:gd name="connsiteX14" fmla="*/ 709612 w 902493"/>
              <a:gd name="connsiteY14" fmla="*/ 0 h 647700"/>
              <a:gd name="connsiteX15" fmla="*/ 404812 w 902493"/>
              <a:gd name="connsiteY15" fmla="*/ 95250 h 647700"/>
              <a:gd name="connsiteX16" fmla="*/ 71436 w 902493"/>
              <a:gd name="connsiteY16" fmla="*/ 188118 h 647700"/>
              <a:gd name="connsiteX17" fmla="*/ 47624 w 902493"/>
              <a:gd name="connsiteY17" fmla="*/ 195262 h 647700"/>
              <a:gd name="connsiteX18" fmla="*/ 0 w 902493"/>
              <a:gd name="connsiteY18" fmla="*/ 245268 h 647700"/>
              <a:gd name="connsiteX0" fmla="*/ 0 w 902493"/>
              <a:gd name="connsiteY0" fmla="*/ 245268 h 647700"/>
              <a:gd name="connsiteX1" fmla="*/ 135730 w 902493"/>
              <a:gd name="connsiteY1" fmla="*/ 647700 h 647700"/>
              <a:gd name="connsiteX2" fmla="*/ 469105 w 902493"/>
              <a:gd name="connsiteY2" fmla="*/ 554831 h 647700"/>
              <a:gd name="connsiteX3" fmla="*/ 847724 w 902493"/>
              <a:gd name="connsiteY3" fmla="*/ 426244 h 647700"/>
              <a:gd name="connsiteX4" fmla="*/ 866774 w 902493"/>
              <a:gd name="connsiteY4" fmla="*/ 354806 h 647700"/>
              <a:gd name="connsiteX5" fmla="*/ 902493 w 902493"/>
              <a:gd name="connsiteY5" fmla="*/ 321469 h 647700"/>
              <a:gd name="connsiteX6" fmla="*/ 892968 w 902493"/>
              <a:gd name="connsiteY6" fmla="*/ 273844 h 647700"/>
              <a:gd name="connsiteX7" fmla="*/ 826293 w 902493"/>
              <a:gd name="connsiteY7" fmla="*/ 257175 h 647700"/>
              <a:gd name="connsiteX8" fmla="*/ 826293 w 902493"/>
              <a:gd name="connsiteY8" fmla="*/ 223837 h 647700"/>
              <a:gd name="connsiteX9" fmla="*/ 812005 w 902493"/>
              <a:gd name="connsiteY9" fmla="*/ 188119 h 647700"/>
              <a:gd name="connsiteX10" fmla="*/ 823912 w 902493"/>
              <a:gd name="connsiteY10" fmla="*/ 80962 h 647700"/>
              <a:gd name="connsiteX11" fmla="*/ 788193 w 902493"/>
              <a:gd name="connsiteY11" fmla="*/ 40481 h 647700"/>
              <a:gd name="connsiteX12" fmla="*/ 740568 w 902493"/>
              <a:gd name="connsiteY12" fmla="*/ 9525 h 647700"/>
              <a:gd name="connsiteX13" fmla="*/ 709612 w 902493"/>
              <a:gd name="connsiteY13" fmla="*/ 0 h 647700"/>
              <a:gd name="connsiteX14" fmla="*/ 404812 w 902493"/>
              <a:gd name="connsiteY14" fmla="*/ 95250 h 647700"/>
              <a:gd name="connsiteX15" fmla="*/ 71436 w 902493"/>
              <a:gd name="connsiteY15" fmla="*/ 188118 h 647700"/>
              <a:gd name="connsiteX16" fmla="*/ 47624 w 902493"/>
              <a:gd name="connsiteY16" fmla="*/ 195262 h 647700"/>
              <a:gd name="connsiteX17" fmla="*/ 0 w 902493"/>
              <a:gd name="connsiteY17" fmla="*/ 245268 h 647700"/>
              <a:gd name="connsiteX0" fmla="*/ 0 w 902493"/>
              <a:gd name="connsiteY0" fmla="*/ 245268 h 657225"/>
              <a:gd name="connsiteX1" fmla="*/ 128586 w 902493"/>
              <a:gd name="connsiteY1" fmla="*/ 657225 h 657225"/>
              <a:gd name="connsiteX2" fmla="*/ 469105 w 902493"/>
              <a:gd name="connsiteY2" fmla="*/ 554831 h 657225"/>
              <a:gd name="connsiteX3" fmla="*/ 847724 w 902493"/>
              <a:gd name="connsiteY3" fmla="*/ 426244 h 657225"/>
              <a:gd name="connsiteX4" fmla="*/ 866774 w 902493"/>
              <a:gd name="connsiteY4" fmla="*/ 354806 h 657225"/>
              <a:gd name="connsiteX5" fmla="*/ 902493 w 902493"/>
              <a:gd name="connsiteY5" fmla="*/ 321469 h 657225"/>
              <a:gd name="connsiteX6" fmla="*/ 892968 w 902493"/>
              <a:gd name="connsiteY6" fmla="*/ 273844 h 657225"/>
              <a:gd name="connsiteX7" fmla="*/ 826293 w 902493"/>
              <a:gd name="connsiteY7" fmla="*/ 257175 h 657225"/>
              <a:gd name="connsiteX8" fmla="*/ 826293 w 902493"/>
              <a:gd name="connsiteY8" fmla="*/ 223837 h 657225"/>
              <a:gd name="connsiteX9" fmla="*/ 812005 w 902493"/>
              <a:gd name="connsiteY9" fmla="*/ 188119 h 657225"/>
              <a:gd name="connsiteX10" fmla="*/ 823912 w 902493"/>
              <a:gd name="connsiteY10" fmla="*/ 80962 h 657225"/>
              <a:gd name="connsiteX11" fmla="*/ 788193 w 902493"/>
              <a:gd name="connsiteY11" fmla="*/ 40481 h 657225"/>
              <a:gd name="connsiteX12" fmla="*/ 740568 w 902493"/>
              <a:gd name="connsiteY12" fmla="*/ 9525 h 657225"/>
              <a:gd name="connsiteX13" fmla="*/ 709612 w 902493"/>
              <a:gd name="connsiteY13" fmla="*/ 0 h 657225"/>
              <a:gd name="connsiteX14" fmla="*/ 404812 w 902493"/>
              <a:gd name="connsiteY14" fmla="*/ 95250 h 657225"/>
              <a:gd name="connsiteX15" fmla="*/ 71436 w 902493"/>
              <a:gd name="connsiteY15" fmla="*/ 188118 h 657225"/>
              <a:gd name="connsiteX16" fmla="*/ 47624 w 902493"/>
              <a:gd name="connsiteY16" fmla="*/ 195262 h 657225"/>
              <a:gd name="connsiteX17" fmla="*/ 0 w 902493"/>
              <a:gd name="connsiteY17" fmla="*/ 245268 h 657225"/>
              <a:gd name="connsiteX0" fmla="*/ 0 w 902493"/>
              <a:gd name="connsiteY0" fmla="*/ 245268 h 657225"/>
              <a:gd name="connsiteX1" fmla="*/ 128586 w 902493"/>
              <a:gd name="connsiteY1" fmla="*/ 657225 h 657225"/>
              <a:gd name="connsiteX2" fmla="*/ 469105 w 902493"/>
              <a:gd name="connsiteY2" fmla="*/ 554831 h 657225"/>
              <a:gd name="connsiteX3" fmla="*/ 847724 w 902493"/>
              <a:gd name="connsiteY3" fmla="*/ 426244 h 657225"/>
              <a:gd name="connsiteX4" fmla="*/ 873918 w 902493"/>
              <a:gd name="connsiteY4" fmla="*/ 366712 h 657225"/>
              <a:gd name="connsiteX5" fmla="*/ 902493 w 902493"/>
              <a:gd name="connsiteY5" fmla="*/ 321469 h 657225"/>
              <a:gd name="connsiteX6" fmla="*/ 892968 w 902493"/>
              <a:gd name="connsiteY6" fmla="*/ 273844 h 657225"/>
              <a:gd name="connsiteX7" fmla="*/ 826293 w 902493"/>
              <a:gd name="connsiteY7" fmla="*/ 257175 h 657225"/>
              <a:gd name="connsiteX8" fmla="*/ 826293 w 902493"/>
              <a:gd name="connsiteY8" fmla="*/ 223837 h 657225"/>
              <a:gd name="connsiteX9" fmla="*/ 812005 w 902493"/>
              <a:gd name="connsiteY9" fmla="*/ 188119 h 657225"/>
              <a:gd name="connsiteX10" fmla="*/ 823912 w 902493"/>
              <a:gd name="connsiteY10" fmla="*/ 80962 h 657225"/>
              <a:gd name="connsiteX11" fmla="*/ 788193 w 902493"/>
              <a:gd name="connsiteY11" fmla="*/ 40481 h 657225"/>
              <a:gd name="connsiteX12" fmla="*/ 740568 w 902493"/>
              <a:gd name="connsiteY12" fmla="*/ 9525 h 657225"/>
              <a:gd name="connsiteX13" fmla="*/ 709612 w 902493"/>
              <a:gd name="connsiteY13" fmla="*/ 0 h 657225"/>
              <a:gd name="connsiteX14" fmla="*/ 404812 w 902493"/>
              <a:gd name="connsiteY14" fmla="*/ 95250 h 657225"/>
              <a:gd name="connsiteX15" fmla="*/ 71436 w 902493"/>
              <a:gd name="connsiteY15" fmla="*/ 188118 h 657225"/>
              <a:gd name="connsiteX16" fmla="*/ 47624 w 902493"/>
              <a:gd name="connsiteY16" fmla="*/ 195262 h 657225"/>
              <a:gd name="connsiteX17" fmla="*/ 0 w 902493"/>
              <a:gd name="connsiteY17" fmla="*/ 245268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02493" h="657225">
                <a:moveTo>
                  <a:pt x="0" y="245268"/>
                </a:moveTo>
                <a:lnTo>
                  <a:pt x="128586" y="657225"/>
                </a:lnTo>
                <a:lnTo>
                  <a:pt x="469105" y="554831"/>
                </a:lnTo>
                <a:lnTo>
                  <a:pt x="847724" y="426244"/>
                </a:lnTo>
                <a:lnTo>
                  <a:pt x="873918" y="366712"/>
                </a:lnTo>
                <a:lnTo>
                  <a:pt x="902493" y="321469"/>
                </a:lnTo>
                <a:lnTo>
                  <a:pt x="892968" y="273844"/>
                </a:lnTo>
                <a:lnTo>
                  <a:pt x="826293" y="257175"/>
                </a:lnTo>
                <a:lnTo>
                  <a:pt x="826293" y="223837"/>
                </a:lnTo>
                <a:lnTo>
                  <a:pt x="812005" y="188119"/>
                </a:lnTo>
                <a:lnTo>
                  <a:pt x="823912" y="80962"/>
                </a:lnTo>
                <a:lnTo>
                  <a:pt x="788193" y="40481"/>
                </a:lnTo>
                <a:lnTo>
                  <a:pt x="740568" y="9525"/>
                </a:lnTo>
                <a:lnTo>
                  <a:pt x="709612" y="0"/>
                </a:lnTo>
                <a:lnTo>
                  <a:pt x="404812" y="95250"/>
                </a:lnTo>
                <a:lnTo>
                  <a:pt x="71436" y="188118"/>
                </a:lnTo>
                <a:lnTo>
                  <a:pt x="47624" y="195262"/>
                </a:lnTo>
                <a:lnTo>
                  <a:pt x="0" y="24526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4610114" y="1947978"/>
            <a:ext cx="964183" cy="1108440"/>
            <a:chOff x="4393406" y="1081031"/>
            <a:chExt cx="997744" cy="1143057"/>
          </a:xfrm>
          <a:solidFill>
            <a:schemeClr val="bg1">
              <a:lumMod val="75000"/>
            </a:schemeClr>
          </a:solidFill>
        </p:grpSpPr>
        <p:sp>
          <p:nvSpPr>
            <p:cNvPr id="87" name="Freeform 86"/>
            <p:cNvSpPr/>
            <p:nvPr/>
          </p:nvSpPr>
          <p:spPr>
            <a:xfrm>
              <a:off x="4393406" y="1166813"/>
              <a:ext cx="997744" cy="1057275"/>
            </a:xfrm>
            <a:custGeom>
              <a:avLst/>
              <a:gdLst>
                <a:gd name="connsiteX0" fmla="*/ 0 w 997744"/>
                <a:gd name="connsiteY0" fmla="*/ 11906 h 1057275"/>
                <a:gd name="connsiteX1" fmla="*/ 26194 w 997744"/>
                <a:gd name="connsiteY1" fmla="*/ 83343 h 1057275"/>
                <a:gd name="connsiteX2" fmla="*/ 26194 w 997744"/>
                <a:gd name="connsiteY2" fmla="*/ 200025 h 1057275"/>
                <a:gd name="connsiteX3" fmla="*/ 54769 w 997744"/>
                <a:gd name="connsiteY3" fmla="*/ 230981 h 1057275"/>
                <a:gd name="connsiteX4" fmla="*/ 92869 w 997744"/>
                <a:gd name="connsiteY4" fmla="*/ 316706 h 1057275"/>
                <a:gd name="connsiteX5" fmla="*/ 92869 w 997744"/>
                <a:gd name="connsiteY5" fmla="*/ 426243 h 1057275"/>
                <a:gd name="connsiteX6" fmla="*/ 126207 w 997744"/>
                <a:gd name="connsiteY6" fmla="*/ 538162 h 1057275"/>
                <a:gd name="connsiteX7" fmla="*/ 116682 w 997744"/>
                <a:gd name="connsiteY7" fmla="*/ 590550 h 1057275"/>
                <a:gd name="connsiteX8" fmla="*/ 126207 w 997744"/>
                <a:gd name="connsiteY8" fmla="*/ 602456 h 1057275"/>
                <a:gd name="connsiteX9" fmla="*/ 114300 w 997744"/>
                <a:gd name="connsiteY9" fmla="*/ 678656 h 1057275"/>
                <a:gd name="connsiteX10" fmla="*/ 161925 w 997744"/>
                <a:gd name="connsiteY10" fmla="*/ 709612 h 1057275"/>
                <a:gd name="connsiteX11" fmla="*/ 178594 w 997744"/>
                <a:gd name="connsiteY11" fmla="*/ 1057275 h 1057275"/>
                <a:gd name="connsiteX12" fmla="*/ 547688 w 997744"/>
                <a:gd name="connsiteY12" fmla="*/ 1026318 h 1057275"/>
                <a:gd name="connsiteX13" fmla="*/ 916782 w 997744"/>
                <a:gd name="connsiteY13" fmla="*/ 962025 h 1057275"/>
                <a:gd name="connsiteX14" fmla="*/ 890588 w 997744"/>
                <a:gd name="connsiteY14" fmla="*/ 897731 h 1057275"/>
                <a:gd name="connsiteX15" fmla="*/ 869157 w 997744"/>
                <a:gd name="connsiteY15" fmla="*/ 907256 h 1057275"/>
                <a:gd name="connsiteX16" fmla="*/ 838200 w 997744"/>
                <a:gd name="connsiteY16" fmla="*/ 871537 h 1057275"/>
                <a:gd name="connsiteX17" fmla="*/ 804863 w 997744"/>
                <a:gd name="connsiteY17" fmla="*/ 871537 h 1057275"/>
                <a:gd name="connsiteX18" fmla="*/ 766763 w 997744"/>
                <a:gd name="connsiteY18" fmla="*/ 814387 h 1057275"/>
                <a:gd name="connsiteX19" fmla="*/ 709613 w 997744"/>
                <a:gd name="connsiteY19" fmla="*/ 792956 h 1057275"/>
                <a:gd name="connsiteX20" fmla="*/ 673894 w 997744"/>
                <a:gd name="connsiteY20" fmla="*/ 783431 h 1057275"/>
                <a:gd name="connsiteX21" fmla="*/ 673894 w 997744"/>
                <a:gd name="connsiteY21" fmla="*/ 783431 h 1057275"/>
                <a:gd name="connsiteX22" fmla="*/ 645319 w 997744"/>
                <a:gd name="connsiteY22" fmla="*/ 716756 h 1057275"/>
                <a:gd name="connsiteX23" fmla="*/ 666750 w 997744"/>
                <a:gd name="connsiteY23" fmla="*/ 669131 h 1057275"/>
                <a:gd name="connsiteX24" fmla="*/ 623888 w 997744"/>
                <a:gd name="connsiteY24" fmla="*/ 588168 h 1057275"/>
                <a:gd name="connsiteX25" fmla="*/ 683419 w 997744"/>
                <a:gd name="connsiteY25" fmla="*/ 519112 h 1057275"/>
                <a:gd name="connsiteX26" fmla="*/ 681038 w 997744"/>
                <a:gd name="connsiteY26" fmla="*/ 435768 h 1057275"/>
                <a:gd name="connsiteX27" fmla="*/ 704850 w 997744"/>
                <a:gd name="connsiteY27" fmla="*/ 371475 h 1057275"/>
                <a:gd name="connsiteX28" fmla="*/ 731044 w 997744"/>
                <a:gd name="connsiteY28" fmla="*/ 345281 h 1057275"/>
                <a:gd name="connsiteX29" fmla="*/ 788194 w 997744"/>
                <a:gd name="connsiteY29" fmla="*/ 292893 h 1057275"/>
                <a:gd name="connsiteX30" fmla="*/ 819150 w 997744"/>
                <a:gd name="connsiteY30" fmla="*/ 238125 h 1057275"/>
                <a:gd name="connsiteX31" fmla="*/ 912019 w 997744"/>
                <a:gd name="connsiteY31" fmla="*/ 171450 h 1057275"/>
                <a:gd name="connsiteX32" fmla="*/ 997744 w 997744"/>
                <a:gd name="connsiteY32" fmla="*/ 107156 h 1057275"/>
                <a:gd name="connsiteX33" fmla="*/ 945357 w 997744"/>
                <a:gd name="connsiteY33" fmla="*/ 97631 h 1057275"/>
                <a:gd name="connsiteX34" fmla="*/ 869157 w 997744"/>
                <a:gd name="connsiteY34" fmla="*/ 107156 h 1057275"/>
                <a:gd name="connsiteX35" fmla="*/ 823913 w 997744"/>
                <a:gd name="connsiteY35" fmla="*/ 104775 h 1057275"/>
                <a:gd name="connsiteX36" fmla="*/ 807244 w 997744"/>
                <a:gd name="connsiteY36" fmla="*/ 92868 h 1057275"/>
                <a:gd name="connsiteX37" fmla="*/ 766763 w 997744"/>
                <a:gd name="connsiteY37" fmla="*/ 111918 h 1057275"/>
                <a:gd name="connsiteX38" fmla="*/ 738188 w 997744"/>
                <a:gd name="connsiteY38" fmla="*/ 104775 h 1057275"/>
                <a:gd name="connsiteX39" fmla="*/ 700088 w 997744"/>
                <a:gd name="connsiteY39" fmla="*/ 88106 h 1057275"/>
                <a:gd name="connsiteX40" fmla="*/ 676275 w 997744"/>
                <a:gd name="connsiteY40" fmla="*/ 71437 h 1057275"/>
                <a:gd name="connsiteX41" fmla="*/ 638175 w 997744"/>
                <a:gd name="connsiteY41" fmla="*/ 78581 h 1057275"/>
                <a:gd name="connsiteX42" fmla="*/ 588169 w 997744"/>
                <a:gd name="connsiteY42" fmla="*/ 50006 h 1057275"/>
                <a:gd name="connsiteX43" fmla="*/ 561975 w 997744"/>
                <a:gd name="connsiteY43" fmla="*/ 52387 h 1057275"/>
                <a:gd name="connsiteX44" fmla="*/ 504825 w 997744"/>
                <a:gd name="connsiteY44" fmla="*/ 57150 h 1057275"/>
                <a:gd name="connsiteX45" fmla="*/ 459582 w 997744"/>
                <a:gd name="connsiteY45" fmla="*/ 57150 h 1057275"/>
                <a:gd name="connsiteX46" fmla="*/ 438150 w 997744"/>
                <a:gd name="connsiteY46" fmla="*/ 42862 h 1057275"/>
                <a:gd name="connsiteX47" fmla="*/ 381000 w 997744"/>
                <a:gd name="connsiteY47" fmla="*/ 33337 h 1057275"/>
                <a:gd name="connsiteX48" fmla="*/ 328613 w 997744"/>
                <a:gd name="connsiteY48" fmla="*/ 16668 h 1057275"/>
                <a:gd name="connsiteX49" fmla="*/ 295275 w 997744"/>
                <a:gd name="connsiteY49" fmla="*/ 16668 h 1057275"/>
                <a:gd name="connsiteX50" fmla="*/ 264319 w 997744"/>
                <a:gd name="connsiteY50" fmla="*/ 16668 h 1057275"/>
                <a:gd name="connsiteX51" fmla="*/ 238125 w 997744"/>
                <a:gd name="connsiteY51" fmla="*/ 9525 h 1057275"/>
                <a:gd name="connsiteX52" fmla="*/ 230982 w 997744"/>
                <a:gd name="connsiteY52" fmla="*/ 0 h 1057275"/>
                <a:gd name="connsiteX53" fmla="*/ 147638 w 997744"/>
                <a:gd name="connsiteY53" fmla="*/ 9525 h 1057275"/>
                <a:gd name="connsiteX54" fmla="*/ 83344 w 997744"/>
                <a:gd name="connsiteY54" fmla="*/ 7143 h 1057275"/>
                <a:gd name="connsiteX55" fmla="*/ 0 w 997744"/>
                <a:gd name="connsiteY55" fmla="*/ 11906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997744" h="1057275">
                  <a:moveTo>
                    <a:pt x="0" y="11906"/>
                  </a:moveTo>
                  <a:lnTo>
                    <a:pt x="26194" y="83343"/>
                  </a:lnTo>
                  <a:lnTo>
                    <a:pt x="26194" y="200025"/>
                  </a:lnTo>
                  <a:lnTo>
                    <a:pt x="54769" y="230981"/>
                  </a:lnTo>
                  <a:lnTo>
                    <a:pt x="92869" y="316706"/>
                  </a:lnTo>
                  <a:lnTo>
                    <a:pt x="92869" y="426243"/>
                  </a:lnTo>
                  <a:lnTo>
                    <a:pt x="126207" y="538162"/>
                  </a:lnTo>
                  <a:lnTo>
                    <a:pt x="116682" y="590550"/>
                  </a:lnTo>
                  <a:lnTo>
                    <a:pt x="126207" y="602456"/>
                  </a:lnTo>
                  <a:lnTo>
                    <a:pt x="114300" y="678656"/>
                  </a:lnTo>
                  <a:lnTo>
                    <a:pt x="161925" y="709612"/>
                  </a:lnTo>
                  <a:lnTo>
                    <a:pt x="178594" y="1057275"/>
                  </a:lnTo>
                  <a:lnTo>
                    <a:pt x="547688" y="1026318"/>
                  </a:lnTo>
                  <a:lnTo>
                    <a:pt x="916782" y="962025"/>
                  </a:lnTo>
                  <a:lnTo>
                    <a:pt x="890588" y="897731"/>
                  </a:lnTo>
                  <a:lnTo>
                    <a:pt x="869157" y="907256"/>
                  </a:lnTo>
                  <a:lnTo>
                    <a:pt x="838200" y="871537"/>
                  </a:lnTo>
                  <a:lnTo>
                    <a:pt x="804863" y="871537"/>
                  </a:lnTo>
                  <a:lnTo>
                    <a:pt x="766763" y="814387"/>
                  </a:lnTo>
                  <a:lnTo>
                    <a:pt x="709613" y="792956"/>
                  </a:lnTo>
                  <a:lnTo>
                    <a:pt x="673894" y="783431"/>
                  </a:lnTo>
                  <a:lnTo>
                    <a:pt x="673894" y="783431"/>
                  </a:lnTo>
                  <a:lnTo>
                    <a:pt x="645319" y="716756"/>
                  </a:lnTo>
                  <a:lnTo>
                    <a:pt x="666750" y="669131"/>
                  </a:lnTo>
                  <a:lnTo>
                    <a:pt x="623888" y="588168"/>
                  </a:lnTo>
                  <a:lnTo>
                    <a:pt x="683419" y="519112"/>
                  </a:lnTo>
                  <a:cubicBezTo>
                    <a:pt x="682625" y="491331"/>
                    <a:pt x="681832" y="463549"/>
                    <a:pt x="681038" y="435768"/>
                  </a:cubicBezTo>
                  <a:lnTo>
                    <a:pt x="704850" y="371475"/>
                  </a:lnTo>
                  <a:lnTo>
                    <a:pt x="731044" y="345281"/>
                  </a:lnTo>
                  <a:lnTo>
                    <a:pt x="788194" y="292893"/>
                  </a:lnTo>
                  <a:lnTo>
                    <a:pt x="819150" y="238125"/>
                  </a:lnTo>
                  <a:lnTo>
                    <a:pt x="912019" y="171450"/>
                  </a:lnTo>
                  <a:lnTo>
                    <a:pt x="997744" y="107156"/>
                  </a:lnTo>
                  <a:lnTo>
                    <a:pt x="945357" y="97631"/>
                  </a:lnTo>
                  <a:lnTo>
                    <a:pt x="869157" y="107156"/>
                  </a:lnTo>
                  <a:lnTo>
                    <a:pt x="823913" y="104775"/>
                  </a:lnTo>
                  <a:lnTo>
                    <a:pt x="807244" y="92868"/>
                  </a:lnTo>
                  <a:lnTo>
                    <a:pt x="766763" y="111918"/>
                  </a:lnTo>
                  <a:lnTo>
                    <a:pt x="738188" y="104775"/>
                  </a:lnTo>
                  <a:lnTo>
                    <a:pt x="700088" y="88106"/>
                  </a:lnTo>
                  <a:lnTo>
                    <a:pt x="676275" y="71437"/>
                  </a:lnTo>
                  <a:lnTo>
                    <a:pt x="638175" y="78581"/>
                  </a:lnTo>
                  <a:lnTo>
                    <a:pt x="588169" y="50006"/>
                  </a:lnTo>
                  <a:lnTo>
                    <a:pt x="561975" y="52387"/>
                  </a:lnTo>
                  <a:lnTo>
                    <a:pt x="504825" y="57150"/>
                  </a:lnTo>
                  <a:lnTo>
                    <a:pt x="459582" y="57150"/>
                  </a:lnTo>
                  <a:lnTo>
                    <a:pt x="438150" y="42862"/>
                  </a:lnTo>
                  <a:lnTo>
                    <a:pt x="381000" y="33337"/>
                  </a:lnTo>
                  <a:lnTo>
                    <a:pt x="328613" y="16668"/>
                  </a:lnTo>
                  <a:lnTo>
                    <a:pt x="295275" y="16668"/>
                  </a:lnTo>
                  <a:lnTo>
                    <a:pt x="264319" y="16668"/>
                  </a:lnTo>
                  <a:lnTo>
                    <a:pt x="238125" y="9525"/>
                  </a:lnTo>
                  <a:lnTo>
                    <a:pt x="230982" y="0"/>
                  </a:lnTo>
                  <a:lnTo>
                    <a:pt x="147638" y="9525"/>
                  </a:lnTo>
                  <a:lnTo>
                    <a:pt x="83344" y="7143"/>
                  </a:lnTo>
                  <a:lnTo>
                    <a:pt x="0" y="1190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88" name="Freeform 87"/>
            <p:cNvSpPr/>
            <p:nvPr/>
          </p:nvSpPr>
          <p:spPr>
            <a:xfrm>
              <a:off x="4638510" y="1081031"/>
              <a:ext cx="35928" cy="59741"/>
            </a:xfrm>
            <a:custGeom>
              <a:avLst/>
              <a:gdLst>
                <a:gd name="connsiteX0" fmla="*/ 28575 w 28575"/>
                <a:gd name="connsiteY0" fmla="*/ 0 h 42863"/>
                <a:gd name="connsiteX1" fmla="*/ 0 w 28575"/>
                <a:gd name="connsiteY1" fmla="*/ 42863 h 42863"/>
                <a:gd name="connsiteX2" fmla="*/ 28575 w 28575"/>
                <a:gd name="connsiteY2" fmla="*/ 0 h 42863"/>
                <a:gd name="connsiteX0" fmla="*/ 35885 w 35928"/>
                <a:gd name="connsiteY0" fmla="*/ 2617 h 45483"/>
                <a:gd name="connsiteX1" fmla="*/ 7310 w 35928"/>
                <a:gd name="connsiteY1" fmla="*/ 45480 h 45483"/>
                <a:gd name="connsiteX2" fmla="*/ 166 w 35928"/>
                <a:gd name="connsiteY2" fmla="*/ 4999 h 45483"/>
                <a:gd name="connsiteX3" fmla="*/ 35885 w 35928"/>
                <a:gd name="connsiteY3" fmla="*/ 2617 h 45483"/>
                <a:gd name="connsiteX0" fmla="*/ 35885 w 35928"/>
                <a:gd name="connsiteY0" fmla="*/ 16725 h 59741"/>
                <a:gd name="connsiteX1" fmla="*/ 7310 w 35928"/>
                <a:gd name="connsiteY1" fmla="*/ 59588 h 59741"/>
                <a:gd name="connsiteX2" fmla="*/ 166 w 35928"/>
                <a:gd name="connsiteY2" fmla="*/ 57 h 59741"/>
                <a:gd name="connsiteX3" fmla="*/ 35885 w 35928"/>
                <a:gd name="connsiteY3" fmla="*/ 16725 h 59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28" h="59741">
                  <a:moveTo>
                    <a:pt x="35885" y="16725"/>
                  </a:moveTo>
                  <a:cubicBezTo>
                    <a:pt x="37076" y="26647"/>
                    <a:pt x="13263" y="62366"/>
                    <a:pt x="7310" y="59588"/>
                  </a:cubicBezTo>
                  <a:cubicBezTo>
                    <a:pt x="1357" y="56810"/>
                    <a:pt x="-628" y="4820"/>
                    <a:pt x="166" y="57"/>
                  </a:cubicBezTo>
                  <a:cubicBezTo>
                    <a:pt x="12072" y="-737"/>
                    <a:pt x="34694" y="6803"/>
                    <a:pt x="35885" y="16725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5539781" y="2190493"/>
            <a:ext cx="1136771" cy="981381"/>
            <a:chOff x="5355431" y="1331119"/>
            <a:chExt cx="1176338" cy="1012031"/>
          </a:xfrm>
          <a:solidFill>
            <a:schemeClr val="bg1">
              <a:lumMod val="75000"/>
            </a:schemeClr>
          </a:solidFill>
        </p:grpSpPr>
        <p:sp>
          <p:nvSpPr>
            <p:cNvPr id="85" name="Freeform 84"/>
            <p:cNvSpPr/>
            <p:nvPr/>
          </p:nvSpPr>
          <p:spPr>
            <a:xfrm>
              <a:off x="5355431" y="1331119"/>
              <a:ext cx="833438" cy="397669"/>
            </a:xfrm>
            <a:custGeom>
              <a:avLst/>
              <a:gdLst>
                <a:gd name="connsiteX0" fmla="*/ 0 w 833438"/>
                <a:gd name="connsiteY0" fmla="*/ 223837 h 397669"/>
                <a:gd name="connsiteX1" fmla="*/ 90488 w 833438"/>
                <a:gd name="connsiteY1" fmla="*/ 276225 h 397669"/>
                <a:gd name="connsiteX2" fmla="*/ 154782 w 833438"/>
                <a:gd name="connsiteY2" fmla="*/ 271462 h 397669"/>
                <a:gd name="connsiteX3" fmla="*/ 290513 w 833438"/>
                <a:gd name="connsiteY3" fmla="*/ 292894 h 397669"/>
                <a:gd name="connsiteX4" fmla="*/ 309563 w 833438"/>
                <a:gd name="connsiteY4" fmla="*/ 288131 h 397669"/>
                <a:gd name="connsiteX5" fmla="*/ 335757 w 833438"/>
                <a:gd name="connsiteY5" fmla="*/ 328612 h 397669"/>
                <a:gd name="connsiteX6" fmla="*/ 369094 w 833438"/>
                <a:gd name="connsiteY6" fmla="*/ 321469 h 397669"/>
                <a:gd name="connsiteX7" fmla="*/ 352425 w 833438"/>
                <a:gd name="connsiteY7" fmla="*/ 354806 h 397669"/>
                <a:gd name="connsiteX8" fmla="*/ 381000 w 833438"/>
                <a:gd name="connsiteY8" fmla="*/ 397669 h 397669"/>
                <a:gd name="connsiteX9" fmla="*/ 402432 w 833438"/>
                <a:gd name="connsiteY9" fmla="*/ 376237 h 397669"/>
                <a:gd name="connsiteX10" fmla="*/ 423863 w 833438"/>
                <a:gd name="connsiteY10" fmla="*/ 342900 h 397669"/>
                <a:gd name="connsiteX11" fmla="*/ 447675 w 833438"/>
                <a:gd name="connsiteY11" fmla="*/ 304800 h 397669"/>
                <a:gd name="connsiteX12" fmla="*/ 452438 w 833438"/>
                <a:gd name="connsiteY12" fmla="*/ 273844 h 397669"/>
                <a:gd name="connsiteX13" fmla="*/ 452438 w 833438"/>
                <a:gd name="connsiteY13" fmla="*/ 273844 h 397669"/>
                <a:gd name="connsiteX14" fmla="*/ 469107 w 833438"/>
                <a:gd name="connsiteY14" fmla="*/ 278606 h 397669"/>
                <a:gd name="connsiteX15" fmla="*/ 471488 w 833438"/>
                <a:gd name="connsiteY15" fmla="*/ 290512 h 397669"/>
                <a:gd name="connsiteX16" fmla="*/ 476250 w 833438"/>
                <a:gd name="connsiteY16" fmla="*/ 297656 h 397669"/>
                <a:gd name="connsiteX17" fmla="*/ 490538 w 833438"/>
                <a:gd name="connsiteY17" fmla="*/ 269081 h 397669"/>
                <a:gd name="connsiteX18" fmla="*/ 514350 w 833438"/>
                <a:gd name="connsiteY18" fmla="*/ 264319 h 397669"/>
                <a:gd name="connsiteX19" fmla="*/ 507207 w 833438"/>
                <a:gd name="connsiteY19" fmla="*/ 280987 h 397669"/>
                <a:gd name="connsiteX20" fmla="*/ 502444 w 833438"/>
                <a:gd name="connsiteY20" fmla="*/ 297656 h 397669"/>
                <a:gd name="connsiteX21" fmla="*/ 514350 w 833438"/>
                <a:gd name="connsiteY21" fmla="*/ 307181 h 397669"/>
                <a:gd name="connsiteX22" fmla="*/ 547688 w 833438"/>
                <a:gd name="connsiteY22" fmla="*/ 264319 h 397669"/>
                <a:gd name="connsiteX23" fmla="*/ 554832 w 833438"/>
                <a:gd name="connsiteY23" fmla="*/ 245269 h 397669"/>
                <a:gd name="connsiteX24" fmla="*/ 566738 w 833438"/>
                <a:gd name="connsiteY24" fmla="*/ 238125 h 397669"/>
                <a:gd name="connsiteX25" fmla="*/ 592932 w 833438"/>
                <a:gd name="connsiteY25" fmla="*/ 230981 h 397669"/>
                <a:gd name="connsiteX26" fmla="*/ 626269 w 833438"/>
                <a:gd name="connsiteY26" fmla="*/ 192881 h 397669"/>
                <a:gd name="connsiteX27" fmla="*/ 671513 w 833438"/>
                <a:gd name="connsiteY27" fmla="*/ 183356 h 397669"/>
                <a:gd name="connsiteX28" fmla="*/ 716757 w 833438"/>
                <a:gd name="connsiteY28" fmla="*/ 185737 h 397669"/>
                <a:gd name="connsiteX29" fmla="*/ 738188 w 833438"/>
                <a:gd name="connsiteY29" fmla="*/ 204787 h 397669"/>
                <a:gd name="connsiteX30" fmla="*/ 762000 w 833438"/>
                <a:gd name="connsiteY30" fmla="*/ 204787 h 397669"/>
                <a:gd name="connsiteX31" fmla="*/ 762000 w 833438"/>
                <a:gd name="connsiteY31" fmla="*/ 176212 h 397669"/>
                <a:gd name="connsiteX32" fmla="*/ 781050 w 833438"/>
                <a:gd name="connsiteY32" fmla="*/ 169069 h 397669"/>
                <a:gd name="connsiteX33" fmla="*/ 823913 w 833438"/>
                <a:gd name="connsiteY33" fmla="*/ 183356 h 397669"/>
                <a:gd name="connsiteX34" fmla="*/ 833438 w 833438"/>
                <a:gd name="connsiteY34" fmla="*/ 161925 h 397669"/>
                <a:gd name="connsiteX35" fmla="*/ 828675 w 833438"/>
                <a:gd name="connsiteY35" fmla="*/ 138112 h 397669"/>
                <a:gd name="connsiteX36" fmla="*/ 807244 w 833438"/>
                <a:gd name="connsiteY36" fmla="*/ 138112 h 397669"/>
                <a:gd name="connsiteX37" fmla="*/ 802482 w 833438"/>
                <a:gd name="connsiteY37" fmla="*/ 130969 h 397669"/>
                <a:gd name="connsiteX38" fmla="*/ 795338 w 833438"/>
                <a:gd name="connsiteY38" fmla="*/ 109537 h 397669"/>
                <a:gd name="connsiteX39" fmla="*/ 764382 w 833438"/>
                <a:gd name="connsiteY39" fmla="*/ 102394 h 397669"/>
                <a:gd name="connsiteX40" fmla="*/ 745332 w 833438"/>
                <a:gd name="connsiteY40" fmla="*/ 119062 h 397669"/>
                <a:gd name="connsiteX41" fmla="*/ 723900 w 833438"/>
                <a:gd name="connsiteY41" fmla="*/ 126206 h 397669"/>
                <a:gd name="connsiteX42" fmla="*/ 695325 w 833438"/>
                <a:gd name="connsiteY42" fmla="*/ 128587 h 397669"/>
                <a:gd name="connsiteX43" fmla="*/ 666750 w 833438"/>
                <a:gd name="connsiteY43" fmla="*/ 116681 h 397669"/>
                <a:gd name="connsiteX44" fmla="*/ 681038 w 833438"/>
                <a:gd name="connsiteY44" fmla="*/ 80962 h 397669"/>
                <a:gd name="connsiteX45" fmla="*/ 683419 w 833438"/>
                <a:gd name="connsiteY45" fmla="*/ 59531 h 397669"/>
                <a:gd name="connsiteX46" fmla="*/ 671513 w 833438"/>
                <a:gd name="connsiteY46" fmla="*/ 57150 h 397669"/>
                <a:gd name="connsiteX47" fmla="*/ 647700 w 833438"/>
                <a:gd name="connsiteY47" fmla="*/ 69056 h 397669"/>
                <a:gd name="connsiteX48" fmla="*/ 628650 w 833438"/>
                <a:gd name="connsiteY48" fmla="*/ 95250 h 397669"/>
                <a:gd name="connsiteX49" fmla="*/ 581025 w 833438"/>
                <a:gd name="connsiteY49" fmla="*/ 102394 h 397669"/>
                <a:gd name="connsiteX50" fmla="*/ 533400 w 833438"/>
                <a:gd name="connsiteY50" fmla="*/ 119062 h 397669"/>
                <a:gd name="connsiteX51" fmla="*/ 502444 w 833438"/>
                <a:gd name="connsiteY51" fmla="*/ 140494 h 397669"/>
                <a:gd name="connsiteX52" fmla="*/ 492919 w 833438"/>
                <a:gd name="connsiteY52" fmla="*/ 164306 h 397669"/>
                <a:gd name="connsiteX53" fmla="*/ 478632 w 833438"/>
                <a:gd name="connsiteY53" fmla="*/ 166687 h 397669"/>
                <a:gd name="connsiteX54" fmla="*/ 442913 w 833438"/>
                <a:gd name="connsiteY54" fmla="*/ 159544 h 397669"/>
                <a:gd name="connsiteX55" fmla="*/ 388144 w 833438"/>
                <a:gd name="connsiteY55" fmla="*/ 159544 h 397669"/>
                <a:gd name="connsiteX56" fmla="*/ 350044 w 833438"/>
                <a:gd name="connsiteY56" fmla="*/ 119062 h 397669"/>
                <a:gd name="connsiteX57" fmla="*/ 326232 w 833438"/>
                <a:gd name="connsiteY57" fmla="*/ 111919 h 397669"/>
                <a:gd name="connsiteX58" fmla="*/ 288132 w 833438"/>
                <a:gd name="connsiteY58" fmla="*/ 114300 h 397669"/>
                <a:gd name="connsiteX59" fmla="*/ 259557 w 833438"/>
                <a:gd name="connsiteY59" fmla="*/ 116681 h 397669"/>
                <a:gd name="connsiteX60" fmla="*/ 250032 w 833438"/>
                <a:gd name="connsiteY60" fmla="*/ 128587 h 397669"/>
                <a:gd name="connsiteX61" fmla="*/ 238125 w 833438"/>
                <a:gd name="connsiteY61" fmla="*/ 121444 h 397669"/>
                <a:gd name="connsiteX62" fmla="*/ 235744 w 833438"/>
                <a:gd name="connsiteY62" fmla="*/ 76200 h 397669"/>
                <a:gd name="connsiteX63" fmla="*/ 252413 w 833438"/>
                <a:gd name="connsiteY63" fmla="*/ 47625 h 397669"/>
                <a:gd name="connsiteX64" fmla="*/ 285750 w 833438"/>
                <a:gd name="connsiteY64" fmla="*/ 40481 h 397669"/>
                <a:gd name="connsiteX65" fmla="*/ 280988 w 833438"/>
                <a:gd name="connsiteY65" fmla="*/ 21431 h 397669"/>
                <a:gd name="connsiteX66" fmla="*/ 304800 w 833438"/>
                <a:gd name="connsiteY66" fmla="*/ 2381 h 397669"/>
                <a:gd name="connsiteX67" fmla="*/ 273844 w 833438"/>
                <a:gd name="connsiteY67" fmla="*/ 0 h 397669"/>
                <a:gd name="connsiteX68" fmla="*/ 254794 w 833438"/>
                <a:gd name="connsiteY68" fmla="*/ 21431 h 397669"/>
                <a:gd name="connsiteX69" fmla="*/ 207169 w 833438"/>
                <a:gd name="connsiteY69" fmla="*/ 26194 h 397669"/>
                <a:gd name="connsiteX70" fmla="*/ 176213 w 833438"/>
                <a:gd name="connsiteY70" fmla="*/ 54769 h 397669"/>
                <a:gd name="connsiteX71" fmla="*/ 166688 w 833438"/>
                <a:gd name="connsiteY71" fmla="*/ 88106 h 397669"/>
                <a:gd name="connsiteX72" fmla="*/ 147638 w 833438"/>
                <a:gd name="connsiteY72" fmla="*/ 109537 h 397669"/>
                <a:gd name="connsiteX73" fmla="*/ 121444 w 833438"/>
                <a:gd name="connsiteY73" fmla="*/ 116681 h 397669"/>
                <a:gd name="connsiteX74" fmla="*/ 71438 w 833438"/>
                <a:gd name="connsiteY74" fmla="*/ 159544 h 397669"/>
                <a:gd name="connsiteX75" fmla="*/ 47625 w 833438"/>
                <a:gd name="connsiteY75" fmla="*/ 161925 h 397669"/>
                <a:gd name="connsiteX76" fmla="*/ 0 w 833438"/>
                <a:gd name="connsiteY76" fmla="*/ 223837 h 397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833438" h="397669">
                  <a:moveTo>
                    <a:pt x="0" y="223837"/>
                  </a:moveTo>
                  <a:lnTo>
                    <a:pt x="90488" y="276225"/>
                  </a:lnTo>
                  <a:lnTo>
                    <a:pt x="154782" y="271462"/>
                  </a:lnTo>
                  <a:lnTo>
                    <a:pt x="290513" y="292894"/>
                  </a:lnTo>
                  <a:lnTo>
                    <a:pt x="309563" y="288131"/>
                  </a:lnTo>
                  <a:lnTo>
                    <a:pt x="335757" y="328612"/>
                  </a:lnTo>
                  <a:lnTo>
                    <a:pt x="369094" y="321469"/>
                  </a:lnTo>
                  <a:lnTo>
                    <a:pt x="352425" y="354806"/>
                  </a:lnTo>
                  <a:lnTo>
                    <a:pt x="381000" y="397669"/>
                  </a:lnTo>
                  <a:lnTo>
                    <a:pt x="402432" y="376237"/>
                  </a:lnTo>
                  <a:lnTo>
                    <a:pt x="423863" y="342900"/>
                  </a:lnTo>
                  <a:lnTo>
                    <a:pt x="447675" y="304800"/>
                  </a:lnTo>
                  <a:lnTo>
                    <a:pt x="452438" y="273844"/>
                  </a:lnTo>
                  <a:lnTo>
                    <a:pt x="452438" y="273844"/>
                  </a:lnTo>
                  <a:lnTo>
                    <a:pt x="469107" y="278606"/>
                  </a:lnTo>
                  <a:lnTo>
                    <a:pt x="471488" y="290512"/>
                  </a:lnTo>
                  <a:lnTo>
                    <a:pt x="476250" y="297656"/>
                  </a:lnTo>
                  <a:lnTo>
                    <a:pt x="490538" y="269081"/>
                  </a:lnTo>
                  <a:lnTo>
                    <a:pt x="514350" y="264319"/>
                  </a:lnTo>
                  <a:lnTo>
                    <a:pt x="507207" y="280987"/>
                  </a:lnTo>
                  <a:lnTo>
                    <a:pt x="502444" y="297656"/>
                  </a:lnTo>
                  <a:lnTo>
                    <a:pt x="514350" y="307181"/>
                  </a:lnTo>
                  <a:lnTo>
                    <a:pt x="547688" y="264319"/>
                  </a:lnTo>
                  <a:lnTo>
                    <a:pt x="554832" y="245269"/>
                  </a:lnTo>
                  <a:lnTo>
                    <a:pt x="566738" y="238125"/>
                  </a:lnTo>
                  <a:lnTo>
                    <a:pt x="592932" y="230981"/>
                  </a:lnTo>
                  <a:lnTo>
                    <a:pt x="626269" y="192881"/>
                  </a:lnTo>
                  <a:lnTo>
                    <a:pt x="671513" y="183356"/>
                  </a:lnTo>
                  <a:lnTo>
                    <a:pt x="716757" y="185737"/>
                  </a:lnTo>
                  <a:lnTo>
                    <a:pt x="738188" y="204787"/>
                  </a:lnTo>
                  <a:lnTo>
                    <a:pt x="762000" y="204787"/>
                  </a:lnTo>
                  <a:lnTo>
                    <a:pt x="762000" y="176212"/>
                  </a:lnTo>
                  <a:lnTo>
                    <a:pt x="781050" y="169069"/>
                  </a:lnTo>
                  <a:lnTo>
                    <a:pt x="823913" y="183356"/>
                  </a:lnTo>
                  <a:lnTo>
                    <a:pt x="833438" y="161925"/>
                  </a:lnTo>
                  <a:lnTo>
                    <a:pt x="828675" y="138112"/>
                  </a:lnTo>
                  <a:lnTo>
                    <a:pt x="807244" y="138112"/>
                  </a:lnTo>
                  <a:lnTo>
                    <a:pt x="802482" y="130969"/>
                  </a:lnTo>
                  <a:lnTo>
                    <a:pt x="795338" y="109537"/>
                  </a:lnTo>
                  <a:lnTo>
                    <a:pt x="764382" y="102394"/>
                  </a:lnTo>
                  <a:lnTo>
                    <a:pt x="745332" y="119062"/>
                  </a:lnTo>
                  <a:lnTo>
                    <a:pt x="723900" y="126206"/>
                  </a:lnTo>
                  <a:lnTo>
                    <a:pt x="695325" y="128587"/>
                  </a:lnTo>
                  <a:lnTo>
                    <a:pt x="666750" y="116681"/>
                  </a:lnTo>
                  <a:lnTo>
                    <a:pt x="681038" y="80962"/>
                  </a:lnTo>
                  <a:lnTo>
                    <a:pt x="683419" y="59531"/>
                  </a:lnTo>
                  <a:lnTo>
                    <a:pt x="671513" y="57150"/>
                  </a:lnTo>
                  <a:lnTo>
                    <a:pt x="647700" y="69056"/>
                  </a:lnTo>
                  <a:lnTo>
                    <a:pt x="628650" y="95250"/>
                  </a:lnTo>
                  <a:lnTo>
                    <a:pt x="581025" y="102394"/>
                  </a:lnTo>
                  <a:lnTo>
                    <a:pt x="533400" y="119062"/>
                  </a:lnTo>
                  <a:lnTo>
                    <a:pt x="502444" y="140494"/>
                  </a:lnTo>
                  <a:lnTo>
                    <a:pt x="492919" y="164306"/>
                  </a:lnTo>
                  <a:lnTo>
                    <a:pt x="478632" y="166687"/>
                  </a:lnTo>
                  <a:lnTo>
                    <a:pt x="442913" y="159544"/>
                  </a:lnTo>
                  <a:lnTo>
                    <a:pt x="388144" y="159544"/>
                  </a:lnTo>
                  <a:lnTo>
                    <a:pt x="350044" y="119062"/>
                  </a:lnTo>
                  <a:lnTo>
                    <a:pt x="326232" y="111919"/>
                  </a:lnTo>
                  <a:lnTo>
                    <a:pt x="288132" y="114300"/>
                  </a:lnTo>
                  <a:lnTo>
                    <a:pt x="259557" y="116681"/>
                  </a:lnTo>
                  <a:lnTo>
                    <a:pt x="250032" y="128587"/>
                  </a:lnTo>
                  <a:lnTo>
                    <a:pt x="238125" y="121444"/>
                  </a:lnTo>
                  <a:lnTo>
                    <a:pt x="235744" y="76200"/>
                  </a:lnTo>
                  <a:lnTo>
                    <a:pt x="252413" y="47625"/>
                  </a:lnTo>
                  <a:lnTo>
                    <a:pt x="285750" y="40481"/>
                  </a:lnTo>
                  <a:lnTo>
                    <a:pt x="280988" y="21431"/>
                  </a:lnTo>
                  <a:lnTo>
                    <a:pt x="304800" y="2381"/>
                  </a:lnTo>
                  <a:lnTo>
                    <a:pt x="273844" y="0"/>
                  </a:lnTo>
                  <a:lnTo>
                    <a:pt x="254794" y="21431"/>
                  </a:lnTo>
                  <a:lnTo>
                    <a:pt x="207169" y="26194"/>
                  </a:lnTo>
                  <a:lnTo>
                    <a:pt x="176213" y="54769"/>
                  </a:lnTo>
                  <a:lnTo>
                    <a:pt x="166688" y="88106"/>
                  </a:lnTo>
                  <a:lnTo>
                    <a:pt x="147638" y="109537"/>
                  </a:lnTo>
                  <a:lnTo>
                    <a:pt x="121444" y="116681"/>
                  </a:lnTo>
                  <a:lnTo>
                    <a:pt x="71438" y="159544"/>
                  </a:lnTo>
                  <a:lnTo>
                    <a:pt x="47625" y="161925"/>
                  </a:lnTo>
                  <a:lnTo>
                    <a:pt x="0" y="22383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86" name="Freeform 85"/>
            <p:cNvSpPr/>
            <p:nvPr/>
          </p:nvSpPr>
          <p:spPr>
            <a:xfrm>
              <a:off x="5938838" y="1557338"/>
              <a:ext cx="592931" cy="785812"/>
            </a:xfrm>
            <a:custGeom>
              <a:avLst/>
              <a:gdLst>
                <a:gd name="connsiteX0" fmla="*/ 78581 w 592931"/>
                <a:gd name="connsiteY0" fmla="*/ 130968 h 785812"/>
                <a:gd name="connsiteX1" fmla="*/ 30956 w 592931"/>
                <a:gd name="connsiteY1" fmla="*/ 190500 h 785812"/>
                <a:gd name="connsiteX2" fmla="*/ 21431 w 592931"/>
                <a:gd name="connsiteY2" fmla="*/ 219075 h 785812"/>
                <a:gd name="connsiteX3" fmla="*/ 9525 w 592931"/>
                <a:gd name="connsiteY3" fmla="*/ 261937 h 785812"/>
                <a:gd name="connsiteX4" fmla="*/ 16668 w 592931"/>
                <a:gd name="connsiteY4" fmla="*/ 292893 h 785812"/>
                <a:gd name="connsiteX5" fmla="*/ 0 w 592931"/>
                <a:gd name="connsiteY5" fmla="*/ 342900 h 785812"/>
                <a:gd name="connsiteX6" fmla="*/ 0 w 592931"/>
                <a:gd name="connsiteY6" fmla="*/ 359568 h 785812"/>
                <a:gd name="connsiteX7" fmla="*/ 16668 w 592931"/>
                <a:gd name="connsiteY7" fmla="*/ 390525 h 785812"/>
                <a:gd name="connsiteX8" fmla="*/ 7143 w 592931"/>
                <a:gd name="connsiteY8" fmla="*/ 431006 h 785812"/>
                <a:gd name="connsiteX9" fmla="*/ 33337 w 592931"/>
                <a:gd name="connsiteY9" fmla="*/ 459581 h 785812"/>
                <a:gd name="connsiteX10" fmla="*/ 52387 w 592931"/>
                <a:gd name="connsiteY10" fmla="*/ 488156 h 785812"/>
                <a:gd name="connsiteX11" fmla="*/ 66675 w 592931"/>
                <a:gd name="connsiteY11" fmla="*/ 521493 h 785812"/>
                <a:gd name="connsiteX12" fmla="*/ 71437 w 592931"/>
                <a:gd name="connsiteY12" fmla="*/ 561975 h 785812"/>
                <a:gd name="connsiteX13" fmla="*/ 78581 w 592931"/>
                <a:gd name="connsiteY13" fmla="*/ 628650 h 785812"/>
                <a:gd name="connsiteX14" fmla="*/ 38100 w 592931"/>
                <a:gd name="connsiteY14" fmla="*/ 785812 h 785812"/>
                <a:gd name="connsiteX15" fmla="*/ 61912 w 592931"/>
                <a:gd name="connsiteY15" fmla="*/ 785812 h 785812"/>
                <a:gd name="connsiteX16" fmla="*/ 304800 w 592931"/>
                <a:gd name="connsiteY16" fmla="*/ 731043 h 785812"/>
                <a:gd name="connsiteX17" fmla="*/ 311943 w 592931"/>
                <a:gd name="connsiteY17" fmla="*/ 752475 h 785812"/>
                <a:gd name="connsiteX18" fmla="*/ 504825 w 592931"/>
                <a:gd name="connsiteY18" fmla="*/ 697706 h 785812"/>
                <a:gd name="connsiteX19" fmla="*/ 523875 w 592931"/>
                <a:gd name="connsiteY19" fmla="*/ 673893 h 785812"/>
                <a:gd name="connsiteX20" fmla="*/ 535781 w 592931"/>
                <a:gd name="connsiteY20" fmla="*/ 635793 h 785812"/>
                <a:gd name="connsiteX21" fmla="*/ 519112 w 592931"/>
                <a:gd name="connsiteY21" fmla="*/ 611981 h 785812"/>
                <a:gd name="connsiteX22" fmla="*/ 535781 w 592931"/>
                <a:gd name="connsiteY22" fmla="*/ 583406 h 785812"/>
                <a:gd name="connsiteX23" fmla="*/ 578643 w 592931"/>
                <a:gd name="connsiteY23" fmla="*/ 540543 h 785812"/>
                <a:gd name="connsiteX24" fmla="*/ 592931 w 592931"/>
                <a:gd name="connsiteY24" fmla="*/ 495300 h 785812"/>
                <a:gd name="connsiteX25" fmla="*/ 585787 w 592931"/>
                <a:gd name="connsiteY25" fmla="*/ 423862 h 785812"/>
                <a:gd name="connsiteX26" fmla="*/ 554831 w 592931"/>
                <a:gd name="connsiteY26" fmla="*/ 357187 h 785812"/>
                <a:gd name="connsiteX27" fmla="*/ 531018 w 592931"/>
                <a:gd name="connsiteY27" fmla="*/ 292893 h 785812"/>
                <a:gd name="connsiteX28" fmla="*/ 500062 w 592931"/>
                <a:gd name="connsiteY28" fmla="*/ 271462 h 785812"/>
                <a:gd name="connsiteX29" fmla="*/ 452437 w 592931"/>
                <a:gd name="connsiteY29" fmla="*/ 271462 h 785812"/>
                <a:gd name="connsiteX30" fmla="*/ 416718 w 592931"/>
                <a:gd name="connsiteY30" fmla="*/ 330993 h 785812"/>
                <a:gd name="connsiteX31" fmla="*/ 404812 w 592931"/>
                <a:gd name="connsiteY31" fmla="*/ 350043 h 785812"/>
                <a:gd name="connsiteX32" fmla="*/ 404812 w 592931"/>
                <a:gd name="connsiteY32" fmla="*/ 350043 h 785812"/>
                <a:gd name="connsiteX33" fmla="*/ 364331 w 592931"/>
                <a:gd name="connsiteY33" fmla="*/ 342900 h 785812"/>
                <a:gd name="connsiteX34" fmla="*/ 366712 w 592931"/>
                <a:gd name="connsiteY34" fmla="*/ 311943 h 785812"/>
                <a:gd name="connsiteX35" fmla="*/ 376237 w 592931"/>
                <a:gd name="connsiteY35" fmla="*/ 290512 h 785812"/>
                <a:gd name="connsiteX36" fmla="*/ 388143 w 592931"/>
                <a:gd name="connsiteY36" fmla="*/ 269081 h 785812"/>
                <a:gd name="connsiteX37" fmla="*/ 395287 w 592931"/>
                <a:gd name="connsiteY37" fmla="*/ 252412 h 785812"/>
                <a:gd name="connsiteX38" fmla="*/ 411956 w 592931"/>
                <a:gd name="connsiteY38" fmla="*/ 202406 h 785812"/>
                <a:gd name="connsiteX39" fmla="*/ 400050 w 592931"/>
                <a:gd name="connsiteY39" fmla="*/ 123825 h 785812"/>
                <a:gd name="connsiteX40" fmla="*/ 371475 w 592931"/>
                <a:gd name="connsiteY40" fmla="*/ 100012 h 785812"/>
                <a:gd name="connsiteX41" fmla="*/ 373856 w 592931"/>
                <a:gd name="connsiteY41" fmla="*/ 88106 h 785812"/>
                <a:gd name="connsiteX42" fmla="*/ 381000 w 592931"/>
                <a:gd name="connsiteY42" fmla="*/ 71437 h 785812"/>
                <a:gd name="connsiteX43" fmla="*/ 376237 w 592931"/>
                <a:gd name="connsiteY43" fmla="*/ 59531 h 785812"/>
                <a:gd name="connsiteX44" fmla="*/ 340518 w 592931"/>
                <a:gd name="connsiteY44" fmla="*/ 52387 h 785812"/>
                <a:gd name="connsiteX45" fmla="*/ 321468 w 592931"/>
                <a:gd name="connsiteY45" fmla="*/ 42862 h 785812"/>
                <a:gd name="connsiteX46" fmla="*/ 311943 w 592931"/>
                <a:gd name="connsiteY46" fmla="*/ 30956 h 785812"/>
                <a:gd name="connsiteX47" fmla="*/ 283368 w 592931"/>
                <a:gd name="connsiteY47" fmla="*/ 35718 h 785812"/>
                <a:gd name="connsiteX48" fmla="*/ 261937 w 592931"/>
                <a:gd name="connsiteY48" fmla="*/ 28575 h 785812"/>
                <a:gd name="connsiteX49" fmla="*/ 238125 w 592931"/>
                <a:gd name="connsiteY49" fmla="*/ 14287 h 785812"/>
                <a:gd name="connsiteX50" fmla="*/ 211931 w 592931"/>
                <a:gd name="connsiteY50" fmla="*/ 21431 h 785812"/>
                <a:gd name="connsiteX51" fmla="*/ 197643 w 592931"/>
                <a:gd name="connsiteY51" fmla="*/ 19050 h 785812"/>
                <a:gd name="connsiteX52" fmla="*/ 169068 w 592931"/>
                <a:gd name="connsiteY52" fmla="*/ 0 h 785812"/>
                <a:gd name="connsiteX53" fmla="*/ 142875 w 592931"/>
                <a:gd name="connsiteY53" fmla="*/ 30956 h 785812"/>
                <a:gd name="connsiteX54" fmla="*/ 135731 w 592931"/>
                <a:gd name="connsiteY54" fmla="*/ 66675 h 785812"/>
                <a:gd name="connsiteX55" fmla="*/ 135731 w 592931"/>
                <a:gd name="connsiteY55" fmla="*/ 71437 h 785812"/>
                <a:gd name="connsiteX56" fmla="*/ 154781 w 592931"/>
                <a:gd name="connsiteY56" fmla="*/ 76200 h 785812"/>
                <a:gd name="connsiteX57" fmla="*/ 133350 w 592931"/>
                <a:gd name="connsiteY57" fmla="*/ 90487 h 785812"/>
                <a:gd name="connsiteX58" fmla="*/ 78581 w 592931"/>
                <a:gd name="connsiteY58" fmla="*/ 130968 h 78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92931" h="785812">
                  <a:moveTo>
                    <a:pt x="78581" y="130968"/>
                  </a:moveTo>
                  <a:lnTo>
                    <a:pt x="30956" y="190500"/>
                  </a:lnTo>
                  <a:lnTo>
                    <a:pt x="21431" y="219075"/>
                  </a:lnTo>
                  <a:lnTo>
                    <a:pt x="9525" y="261937"/>
                  </a:lnTo>
                  <a:lnTo>
                    <a:pt x="16668" y="292893"/>
                  </a:lnTo>
                  <a:lnTo>
                    <a:pt x="0" y="342900"/>
                  </a:lnTo>
                  <a:lnTo>
                    <a:pt x="0" y="359568"/>
                  </a:lnTo>
                  <a:lnTo>
                    <a:pt x="16668" y="390525"/>
                  </a:lnTo>
                  <a:lnTo>
                    <a:pt x="7143" y="431006"/>
                  </a:lnTo>
                  <a:lnTo>
                    <a:pt x="33337" y="459581"/>
                  </a:lnTo>
                  <a:lnTo>
                    <a:pt x="52387" y="488156"/>
                  </a:lnTo>
                  <a:lnTo>
                    <a:pt x="66675" y="521493"/>
                  </a:lnTo>
                  <a:lnTo>
                    <a:pt x="71437" y="561975"/>
                  </a:lnTo>
                  <a:lnTo>
                    <a:pt x="78581" y="628650"/>
                  </a:lnTo>
                  <a:lnTo>
                    <a:pt x="38100" y="785812"/>
                  </a:lnTo>
                  <a:lnTo>
                    <a:pt x="61912" y="785812"/>
                  </a:lnTo>
                  <a:lnTo>
                    <a:pt x="304800" y="731043"/>
                  </a:lnTo>
                  <a:lnTo>
                    <a:pt x="311943" y="752475"/>
                  </a:lnTo>
                  <a:lnTo>
                    <a:pt x="504825" y="697706"/>
                  </a:lnTo>
                  <a:lnTo>
                    <a:pt x="523875" y="673893"/>
                  </a:lnTo>
                  <a:lnTo>
                    <a:pt x="535781" y="635793"/>
                  </a:lnTo>
                  <a:lnTo>
                    <a:pt x="519112" y="611981"/>
                  </a:lnTo>
                  <a:lnTo>
                    <a:pt x="535781" y="583406"/>
                  </a:lnTo>
                  <a:lnTo>
                    <a:pt x="578643" y="540543"/>
                  </a:lnTo>
                  <a:lnTo>
                    <a:pt x="592931" y="495300"/>
                  </a:lnTo>
                  <a:lnTo>
                    <a:pt x="585787" y="423862"/>
                  </a:lnTo>
                  <a:lnTo>
                    <a:pt x="554831" y="357187"/>
                  </a:lnTo>
                  <a:lnTo>
                    <a:pt x="531018" y="292893"/>
                  </a:lnTo>
                  <a:lnTo>
                    <a:pt x="500062" y="271462"/>
                  </a:lnTo>
                  <a:lnTo>
                    <a:pt x="452437" y="271462"/>
                  </a:lnTo>
                  <a:lnTo>
                    <a:pt x="416718" y="330993"/>
                  </a:lnTo>
                  <a:lnTo>
                    <a:pt x="404812" y="350043"/>
                  </a:lnTo>
                  <a:lnTo>
                    <a:pt x="404812" y="350043"/>
                  </a:lnTo>
                  <a:lnTo>
                    <a:pt x="364331" y="342900"/>
                  </a:lnTo>
                  <a:lnTo>
                    <a:pt x="366712" y="311943"/>
                  </a:lnTo>
                  <a:lnTo>
                    <a:pt x="376237" y="290512"/>
                  </a:lnTo>
                  <a:lnTo>
                    <a:pt x="388143" y="269081"/>
                  </a:lnTo>
                  <a:lnTo>
                    <a:pt x="395287" y="252412"/>
                  </a:lnTo>
                  <a:lnTo>
                    <a:pt x="411956" y="202406"/>
                  </a:lnTo>
                  <a:lnTo>
                    <a:pt x="400050" y="123825"/>
                  </a:lnTo>
                  <a:lnTo>
                    <a:pt x="371475" y="100012"/>
                  </a:lnTo>
                  <a:lnTo>
                    <a:pt x="373856" y="88106"/>
                  </a:lnTo>
                  <a:lnTo>
                    <a:pt x="381000" y="71437"/>
                  </a:lnTo>
                  <a:lnTo>
                    <a:pt x="376237" y="59531"/>
                  </a:lnTo>
                  <a:lnTo>
                    <a:pt x="340518" y="52387"/>
                  </a:lnTo>
                  <a:lnTo>
                    <a:pt x="321468" y="42862"/>
                  </a:lnTo>
                  <a:lnTo>
                    <a:pt x="311943" y="30956"/>
                  </a:lnTo>
                  <a:lnTo>
                    <a:pt x="283368" y="35718"/>
                  </a:lnTo>
                  <a:lnTo>
                    <a:pt x="261937" y="28575"/>
                  </a:lnTo>
                  <a:lnTo>
                    <a:pt x="238125" y="14287"/>
                  </a:lnTo>
                  <a:lnTo>
                    <a:pt x="211931" y="21431"/>
                  </a:lnTo>
                  <a:lnTo>
                    <a:pt x="197643" y="19050"/>
                  </a:lnTo>
                  <a:lnTo>
                    <a:pt x="169068" y="0"/>
                  </a:lnTo>
                  <a:lnTo>
                    <a:pt x="142875" y="30956"/>
                  </a:lnTo>
                  <a:lnTo>
                    <a:pt x="135731" y="66675"/>
                  </a:lnTo>
                  <a:lnTo>
                    <a:pt x="135731" y="71437"/>
                  </a:lnTo>
                  <a:lnTo>
                    <a:pt x="154781" y="76200"/>
                  </a:lnTo>
                  <a:lnTo>
                    <a:pt x="133350" y="90487"/>
                  </a:lnTo>
                  <a:lnTo>
                    <a:pt x="78581" y="1309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7026326" y="2084272"/>
            <a:ext cx="1152878" cy="805889"/>
            <a:chOff x="6893719" y="1221581"/>
            <a:chExt cx="1193006" cy="831057"/>
          </a:xfrm>
          <a:solidFill>
            <a:schemeClr val="bg1">
              <a:lumMod val="75000"/>
            </a:schemeClr>
          </a:solidFill>
        </p:grpSpPr>
        <p:sp>
          <p:nvSpPr>
            <p:cNvPr id="83" name="Freeform 82"/>
            <p:cNvSpPr/>
            <p:nvPr/>
          </p:nvSpPr>
          <p:spPr>
            <a:xfrm>
              <a:off x="6893719" y="1221581"/>
              <a:ext cx="978694" cy="831057"/>
            </a:xfrm>
            <a:custGeom>
              <a:avLst/>
              <a:gdLst>
                <a:gd name="connsiteX0" fmla="*/ 0 w 978694"/>
                <a:gd name="connsiteY0" fmla="*/ 831057 h 831057"/>
                <a:gd name="connsiteX1" fmla="*/ 657225 w 978694"/>
                <a:gd name="connsiteY1" fmla="*/ 647700 h 831057"/>
                <a:gd name="connsiteX2" fmla="*/ 709612 w 978694"/>
                <a:gd name="connsiteY2" fmla="*/ 673894 h 831057"/>
                <a:gd name="connsiteX3" fmla="*/ 769144 w 978694"/>
                <a:gd name="connsiteY3" fmla="*/ 733425 h 831057"/>
                <a:gd name="connsiteX4" fmla="*/ 821531 w 978694"/>
                <a:gd name="connsiteY4" fmla="*/ 733425 h 831057"/>
                <a:gd name="connsiteX5" fmla="*/ 866775 w 978694"/>
                <a:gd name="connsiteY5" fmla="*/ 747713 h 831057"/>
                <a:gd name="connsiteX6" fmla="*/ 909637 w 978694"/>
                <a:gd name="connsiteY6" fmla="*/ 745332 h 831057"/>
                <a:gd name="connsiteX7" fmla="*/ 942975 w 978694"/>
                <a:gd name="connsiteY7" fmla="*/ 757238 h 831057"/>
                <a:gd name="connsiteX8" fmla="*/ 962025 w 978694"/>
                <a:gd name="connsiteY8" fmla="*/ 747713 h 831057"/>
                <a:gd name="connsiteX9" fmla="*/ 978694 w 978694"/>
                <a:gd name="connsiteY9" fmla="*/ 690563 h 831057"/>
                <a:gd name="connsiteX10" fmla="*/ 919162 w 978694"/>
                <a:gd name="connsiteY10" fmla="*/ 581025 h 831057"/>
                <a:gd name="connsiteX11" fmla="*/ 912019 w 978694"/>
                <a:gd name="connsiteY11" fmla="*/ 507207 h 831057"/>
                <a:gd name="connsiteX12" fmla="*/ 895350 w 978694"/>
                <a:gd name="connsiteY12" fmla="*/ 471488 h 831057"/>
                <a:gd name="connsiteX13" fmla="*/ 890587 w 978694"/>
                <a:gd name="connsiteY13" fmla="*/ 383382 h 831057"/>
                <a:gd name="connsiteX14" fmla="*/ 833437 w 978694"/>
                <a:gd name="connsiteY14" fmla="*/ 204788 h 831057"/>
                <a:gd name="connsiteX15" fmla="*/ 800100 w 978694"/>
                <a:gd name="connsiteY15" fmla="*/ 176213 h 831057"/>
                <a:gd name="connsiteX16" fmla="*/ 769144 w 978694"/>
                <a:gd name="connsiteY16" fmla="*/ 85725 h 831057"/>
                <a:gd name="connsiteX17" fmla="*/ 757237 w 978694"/>
                <a:gd name="connsiteY17" fmla="*/ 50007 h 831057"/>
                <a:gd name="connsiteX18" fmla="*/ 740569 w 978694"/>
                <a:gd name="connsiteY18" fmla="*/ 0 h 831057"/>
                <a:gd name="connsiteX19" fmla="*/ 528637 w 978694"/>
                <a:gd name="connsiteY19" fmla="*/ 83344 h 831057"/>
                <a:gd name="connsiteX20" fmla="*/ 485775 w 978694"/>
                <a:gd name="connsiteY20" fmla="*/ 123825 h 831057"/>
                <a:gd name="connsiteX21" fmla="*/ 471487 w 978694"/>
                <a:gd name="connsiteY21" fmla="*/ 178594 h 831057"/>
                <a:gd name="connsiteX22" fmla="*/ 471487 w 978694"/>
                <a:gd name="connsiteY22" fmla="*/ 221457 h 831057"/>
                <a:gd name="connsiteX23" fmla="*/ 461962 w 978694"/>
                <a:gd name="connsiteY23" fmla="*/ 242888 h 831057"/>
                <a:gd name="connsiteX24" fmla="*/ 421481 w 978694"/>
                <a:gd name="connsiteY24" fmla="*/ 278607 h 831057"/>
                <a:gd name="connsiteX25" fmla="*/ 411956 w 978694"/>
                <a:gd name="connsiteY25" fmla="*/ 302419 h 831057"/>
                <a:gd name="connsiteX26" fmla="*/ 411956 w 978694"/>
                <a:gd name="connsiteY26" fmla="*/ 302419 h 831057"/>
                <a:gd name="connsiteX27" fmla="*/ 435769 w 978694"/>
                <a:gd name="connsiteY27" fmla="*/ 307182 h 831057"/>
                <a:gd name="connsiteX28" fmla="*/ 457200 w 978694"/>
                <a:gd name="connsiteY28" fmla="*/ 326232 h 831057"/>
                <a:gd name="connsiteX29" fmla="*/ 435769 w 978694"/>
                <a:gd name="connsiteY29" fmla="*/ 369094 h 831057"/>
                <a:gd name="connsiteX30" fmla="*/ 466725 w 978694"/>
                <a:gd name="connsiteY30" fmla="*/ 400050 h 831057"/>
                <a:gd name="connsiteX31" fmla="*/ 461962 w 978694"/>
                <a:gd name="connsiteY31" fmla="*/ 431007 h 831057"/>
                <a:gd name="connsiteX32" fmla="*/ 426244 w 978694"/>
                <a:gd name="connsiteY32" fmla="*/ 433388 h 831057"/>
                <a:gd name="connsiteX33" fmla="*/ 373856 w 978694"/>
                <a:gd name="connsiteY33" fmla="*/ 483394 h 831057"/>
                <a:gd name="connsiteX34" fmla="*/ 330994 w 978694"/>
                <a:gd name="connsiteY34" fmla="*/ 507207 h 831057"/>
                <a:gd name="connsiteX35" fmla="*/ 309562 w 978694"/>
                <a:gd name="connsiteY35" fmla="*/ 526257 h 831057"/>
                <a:gd name="connsiteX36" fmla="*/ 283369 w 978694"/>
                <a:gd name="connsiteY36" fmla="*/ 526257 h 831057"/>
                <a:gd name="connsiteX37" fmla="*/ 235744 w 978694"/>
                <a:gd name="connsiteY37" fmla="*/ 523875 h 831057"/>
                <a:gd name="connsiteX38" fmla="*/ 178594 w 978694"/>
                <a:gd name="connsiteY38" fmla="*/ 547688 h 831057"/>
                <a:gd name="connsiteX39" fmla="*/ 123825 w 978694"/>
                <a:gd name="connsiteY39" fmla="*/ 569119 h 831057"/>
                <a:gd name="connsiteX40" fmla="*/ 123825 w 978694"/>
                <a:gd name="connsiteY40" fmla="*/ 569119 h 831057"/>
                <a:gd name="connsiteX41" fmla="*/ 109537 w 978694"/>
                <a:gd name="connsiteY41" fmla="*/ 633413 h 831057"/>
                <a:gd name="connsiteX42" fmla="*/ 109537 w 978694"/>
                <a:gd name="connsiteY42" fmla="*/ 633413 h 831057"/>
                <a:gd name="connsiteX43" fmla="*/ 140494 w 978694"/>
                <a:gd name="connsiteY43" fmla="*/ 640557 h 831057"/>
                <a:gd name="connsiteX44" fmla="*/ 147637 w 978694"/>
                <a:gd name="connsiteY44" fmla="*/ 671513 h 831057"/>
                <a:gd name="connsiteX45" fmla="*/ 138112 w 978694"/>
                <a:gd name="connsiteY45" fmla="*/ 702469 h 831057"/>
                <a:gd name="connsiteX46" fmla="*/ 0 w 978694"/>
                <a:gd name="connsiteY46" fmla="*/ 831057 h 83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978694" h="831057">
                  <a:moveTo>
                    <a:pt x="0" y="831057"/>
                  </a:moveTo>
                  <a:lnTo>
                    <a:pt x="657225" y="647700"/>
                  </a:lnTo>
                  <a:lnTo>
                    <a:pt x="709612" y="673894"/>
                  </a:lnTo>
                  <a:lnTo>
                    <a:pt x="769144" y="733425"/>
                  </a:lnTo>
                  <a:lnTo>
                    <a:pt x="821531" y="733425"/>
                  </a:lnTo>
                  <a:lnTo>
                    <a:pt x="866775" y="747713"/>
                  </a:lnTo>
                  <a:lnTo>
                    <a:pt x="909637" y="745332"/>
                  </a:lnTo>
                  <a:lnTo>
                    <a:pt x="942975" y="757238"/>
                  </a:lnTo>
                  <a:lnTo>
                    <a:pt x="962025" y="747713"/>
                  </a:lnTo>
                  <a:lnTo>
                    <a:pt x="978694" y="690563"/>
                  </a:lnTo>
                  <a:lnTo>
                    <a:pt x="919162" y="581025"/>
                  </a:lnTo>
                  <a:lnTo>
                    <a:pt x="912019" y="507207"/>
                  </a:lnTo>
                  <a:lnTo>
                    <a:pt x="895350" y="471488"/>
                  </a:lnTo>
                  <a:lnTo>
                    <a:pt x="890587" y="383382"/>
                  </a:lnTo>
                  <a:lnTo>
                    <a:pt x="833437" y="204788"/>
                  </a:lnTo>
                  <a:lnTo>
                    <a:pt x="800100" y="176213"/>
                  </a:lnTo>
                  <a:lnTo>
                    <a:pt x="769144" y="85725"/>
                  </a:lnTo>
                  <a:lnTo>
                    <a:pt x="757237" y="50007"/>
                  </a:lnTo>
                  <a:lnTo>
                    <a:pt x="740569" y="0"/>
                  </a:lnTo>
                  <a:lnTo>
                    <a:pt x="528637" y="83344"/>
                  </a:lnTo>
                  <a:lnTo>
                    <a:pt x="485775" y="123825"/>
                  </a:lnTo>
                  <a:lnTo>
                    <a:pt x="471487" y="178594"/>
                  </a:lnTo>
                  <a:lnTo>
                    <a:pt x="471487" y="221457"/>
                  </a:lnTo>
                  <a:lnTo>
                    <a:pt x="461962" y="242888"/>
                  </a:lnTo>
                  <a:lnTo>
                    <a:pt x="421481" y="278607"/>
                  </a:lnTo>
                  <a:lnTo>
                    <a:pt x="411956" y="302419"/>
                  </a:lnTo>
                  <a:lnTo>
                    <a:pt x="411956" y="302419"/>
                  </a:lnTo>
                  <a:lnTo>
                    <a:pt x="435769" y="307182"/>
                  </a:lnTo>
                  <a:lnTo>
                    <a:pt x="457200" y="326232"/>
                  </a:lnTo>
                  <a:lnTo>
                    <a:pt x="435769" y="369094"/>
                  </a:lnTo>
                  <a:lnTo>
                    <a:pt x="466725" y="400050"/>
                  </a:lnTo>
                  <a:lnTo>
                    <a:pt x="461962" y="431007"/>
                  </a:lnTo>
                  <a:lnTo>
                    <a:pt x="426244" y="433388"/>
                  </a:lnTo>
                  <a:lnTo>
                    <a:pt x="373856" y="483394"/>
                  </a:lnTo>
                  <a:lnTo>
                    <a:pt x="330994" y="507207"/>
                  </a:lnTo>
                  <a:lnTo>
                    <a:pt x="309562" y="526257"/>
                  </a:lnTo>
                  <a:lnTo>
                    <a:pt x="283369" y="526257"/>
                  </a:lnTo>
                  <a:lnTo>
                    <a:pt x="235744" y="523875"/>
                  </a:lnTo>
                  <a:lnTo>
                    <a:pt x="178594" y="547688"/>
                  </a:lnTo>
                  <a:lnTo>
                    <a:pt x="123825" y="569119"/>
                  </a:lnTo>
                  <a:lnTo>
                    <a:pt x="123825" y="569119"/>
                  </a:lnTo>
                  <a:lnTo>
                    <a:pt x="109537" y="633413"/>
                  </a:lnTo>
                  <a:lnTo>
                    <a:pt x="109537" y="633413"/>
                  </a:lnTo>
                  <a:lnTo>
                    <a:pt x="140494" y="640557"/>
                  </a:lnTo>
                  <a:lnTo>
                    <a:pt x="147637" y="671513"/>
                  </a:lnTo>
                  <a:lnTo>
                    <a:pt x="138112" y="702469"/>
                  </a:lnTo>
                  <a:lnTo>
                    <a:pt x="0" y="83105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84" name="Freeform 83"/>
            <p:cNvSpPr/>
            <p:nvPr/>
          </p:nvSpPr>
          <p:spPr>
            <a:xfrm>
              <a:off x="7831932" y="1854994"/>
              <a:ext cx="254793" cy="192881"/>
            </a:xfrm>
            <a:custGeom>
              <a:avLst/>
              <a:gdLst>
                <a:gd name="connsiteX0" fmla="*/ 0 w 245269"/>
                <a:gd name="connsiteY0" fmla="*/ 192881 h 192881"/>
                <a:gd name="connsiteX1" fmla="*/ 97632 w 245269"/>
                <a:gd name="connsiteY1" fmla="*/ 130969 h 192881"/>
                <a:gd name="connsiteX2" fmla="*/ 142875 w 245269"/>
                <a:gd name="connsiteY2" fmla="*/ 92869 h 192881"/>
                <a:gd name="connsiteX3" fmla="*/ 245269 w 245269"/>
                <a:gd name="connsiteY3" fmla="*/ 0 h 192881"/>
                <a:gd name="connsiteX4" fmla="*/ 226219 w 245269"/>
                <a:gd name="connsiteY4" fmla="*/ 2381 h 192881"/>
                <a:gd name="connsiteX5" fmla="*/ 197644 w 245269"/>
                <a:gd name="connsiteY5" fmla="*/ 28575 h 192881"/>
                <a:gd name="connsiteX6" fmla="*/ 166688 w 245269"/>
                <a:gd name="connsiteY6" fmla="*/ 28575 h 192881"/>
                <a:gd name="connsiteX7" fmla="*/ 150019 w 245269"/>
                <a:gd name="connsiteY7" fmla="*/ 47625 h 192881"/>
                <a:gd name="connsiteX8" fmla="*/ 126207 w 245269"/>
                <a:gd name="connsiteY8" fmla="*/ 50006 h 192881"/>
                <a:gd name="connsiteX9" fmla="*/ 83344 w 245269"/>
                <a:gd name="connsiteY9" fmla="*/ 78581 h 192881"/>
                <a:gd name="connsiteX10" fmla="*/ 54769 w 245269"/>
                <a:gd name="connsiteY10" fmla="*/ 92869 h 192881"/>
                <a:gd name="connsiteX11" fmla="*/ 30957 w 245269"/>
                <a:gd name="connsiteY11" fmla="*/ 119062 h 192881"/>
                <a:gd name="connsiteX12" fmla="*/ 0 w 245269"/>
                <a:gd name="connsiteY12" fmla="*/ 192881 h 192881"/>
                <a:gd name="connsiteX0" fmla="*/ 0 w 245269"/>
                <a:gd name="connsiteY0" fmla="*/ 192881 h 192881"/>
                <a:gd name="connsiteX1" fmla="*/ 97632 w 245269"/>
                <a:gd name="connsiteY1" fmla="*/ 130969 h 192881"/>
                <a:gd name="connsiteX2" fmla="*/ 142875 w 245269"/>
                <a:gd name="connsiteY2" fmla="*/ 92869 h 192881"/>
                <a:gd name="connsiteX3" fmla="*/ 245269 w 245269"/>
                <a:gd name="connsiteY3" fmla="*/ 0 h 192881"/>
                <a:gd name="connsiteX4" fmla="*/ 226219 w 245269"/>
                <a:gd name="connsiteY4" fmla="*/ 2381 h 192881"/>
                <a:gd name="connsiteX5" fmla="*/ 197644 w 245269"/>
                <a:gd name="connsiteY5" fmla="*/ 28575 h 192881"/>
                <a:gd name="connsiteX6" fmla="*/ 166688 w 245269"/>
                <a:gd name="connsiteY6" fmla="*/ 28575 h 192881"/>
                <a:gd name="connsiteX7" fmla="*/ 150019 w 245269"/>
                <a:gd name="connsiteY7" fmla="*/ 47625 h 192881"/>
                <a:gd name="connsiteX8" fmla="*/ 126207 w 245269"/>
                <a:gd name="connsiteY8" fmla="*/ 50006 h 192881"/>
                <a:gd name="connsiteX9" fmla="*/ 83344 w 245269"/>
                <a:gd name="connsiteY9" fmla="*/ 78581 h 192881"/>
                <a:gd name="connsiteX10" fmla="*/ 54769 w 245269"/>
                <a:gd name="connsiteY10" fmla="*/ 92869 h 192881"/>
                <a:gd name="connsiteX11" fmla="*/ 30957 w 245269"/>
                <a:gd name="connsiteY11" fmla="*/ 119062 h 192881"/>
                <a:gd name="connsiteX12" fmla="*/ 14288 w 245269"/>
                <a:gd name="connsiteY12" fmla="*/ 152400 h 192881"/>
                <a:gd name="connsiteX13" fmla="*/ 0 w 245269"/>
                <a:gd name="connsiteY13" fmla="*/ 192881 h 192881"/>
                <a:gd name="connsiteX0" fmla="*/ 9524 w 254793"/>
                <a:gd name="connsiteY0" fmla="*/ 192881 h 192881"/>
                <a:gd name="connsiteX1" fmla="*/ 107156 w 254793"/>
                <a:gd name="connsiteY1" fmla="*/ 130969 h 192881"/>
                <a:gd name="connsiteX2" fmla="*/ 152399 w 254793"/>
                <a:gd name="connsiteY2" fmla="*/ 92869 h 192881"/>
                <a:gd name="connsiteX3" fmla="*/ 254793 w 254793"/>
                <a:gd name="connsiteY3" fmla="*/ 0 h 192881"/>
                <a:gd name="connsiteX4" fmla="*/ 235743 w 254793"/>
                <a:gd name="connsiteY4" fmla="*/ 2381 h 192881"/>
                <a:gd name="connsiteX5" fmla="*/ 207168 w 254793"/>
                <a:gd name="connsiteY5" fmla="*/ 28575 h 192881"/>
                <a:gd name="connsiteX6" fmla="*/ 176212 w 254793"/>
                <a:gd name="connsiteY6" fmla="*/ 28575 h 192881"/>
                <a:gd name="connsiteX7" fmla="*/ 159543 w 254793"/>
                <a:gd name="connsiteY7" fmla="*/ 47625 h 192881"/>
                <a:gd name="connsiteX8" fmla="*/ 135731 w 254793"/>
                <a:gd name="connsiteY8" fmla="*/ 50006 h 192881"/>
                <a:gd name="connsiteX9" fmla="*/ 92868 w 254793"/>
                <a:gd name="connsiteY9" fmla="*/ 78581 h 192881"/>
                <a:gd name="connsiteX10" fmla="*/ 64293 w 254793"/>
                <a:gd name="connsiteY10" fmla="*/ 92869 h 192881"/>
                <a:gd name="connsiteX11" fmla="*/ 40481 w 254793"/>
                <a:gd name="connsiteY11" fmla="*/ 119062 h 192881"/>
                <a:gd name="connsiteX12" fmla="*/ 0 w 254793"/>
                <a:gd name="connsiteY12" fmla="*/ 159544 h 192881"/>
                <a:gd name="connsiteX13" fmla="*/ 9524 w 254793"/>
                <a:gd name="connsiteY13" fmla="*/ 192881 h 192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4793" h="192881">
                  <a:moveTo>
                    <a:pt x="9524" y="192881"/>
                  </a:moveTo>
                  <a:lnTo>
                    <a:pt x="107156" y="130969"/>
                  </a:lnTo>
                  <a:lnTo>
                    <a:pt x="152399" y="92869"/>
                  </a:lnTo>
                  <a:lnTo>
                    <a:pt x="254793" y="0"/>
                  </a:lnTo>
                  <a:lnTo>
                    <a:pt x="235743" y="2381"/>
                  </a:lnTo>
                  <a:lnTo>
                    <a:pt x="207168" y="28575"/>
                  </a:lnTo>
                  <a:lnTo>
                    <a:pt x="176212" y="28575"/>
                  </a:lnTo>
                  <a:lnTo>
                    <a:pt x="159543" y="47625"/>
                  </a:lnTo>
                  <a:lnTo>
                    <a:pt x="135731" y="50006"/>
                  </a:lnTo>
                  <a:lnTo>
                    <a:pt x="92868" y="78581"/>
                  </a:lnTo>
                  <a:lnTo>
                    <a:pt x="64293" y="92869"/>
                  </a:lnTo>
                  <a:lnTo>
                    <a:pt x="40481" y="119062"/>
                  </a:lnTo>
                  <a:lnTo>
                    <a:pt x="0" y="159544"/>
                  </a:lnTo>
                  <a:lnTo>
                    <a:pt x="9524" y="1928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6775502" y="3278094"/>
            <a:ext cx="1102252" cy="741232"/>
            <a:chOff x="6634163" y="2452688"/>
            <a:chExt cx="1140619" cy="764381"/>
          </a:xfrm>
          <a:solidFill>
            <a:schemeClr val="bg1">
              <a:lumMod val="75000"/>
            </a:schemeClr>
          </a:solidFill>
        </p:grpSpPr>
        <p:sp>
          <p:nvSpPr>
            <p:cNvPr id="81" name="Freeform 80"/>
            <p:cNvSpPr/>
            <p:nvPr/>
          </p:nvSpPr>
          <p:spPr>
            <a:xfrm>
              <a:off x="6634163" y="2452688"/>
              <a:ext cx="1131093" cy="764381"/>
            </a:xfrm>
            <a:custGeom>
              <a:avLst/>
              <a:gdLst>
                <a:gd name="connsiteX0" fmla="*/ 0 w 1131093"/>
                <a:gd name="connsiteY0" fmla="*/ 764381 h 764381"/>
                <a:gd name="connsiteX1" fmla="*/ 57150 w 1131093"/>
                <a:gd name="connsiteY1" fmla="*/ 754856 h 764381"/>
                <a:gd name="connsiteX2" fmla="*/ 1131093 w 1131093"/>
                <a:gd name="connsiteY2" fmla="*/ 404812 h 764381"/>
                <a:gd name="connsiteX3" fmla="*/ 1100137 w 1131093"/>
                <a:gd name="connsiteY3" fmla="*/ 373856 h 764381"/>
                <a:gd name="connsiteX4" fmla="*/ 1078706 w 1131093"/>
                <a:gd name="connsiteY4" fmla="*/ 388143 h 764381"/>
                <a:gd name="connsiteX5" fmla="*/ 1050131 w 1131093"/>
                <a:gd name="connsiteY5" fmla="*/ 388143 h 764381"/>
                <a:gd name="connsiteX6" fmla="*/ 1023937 w 1131093"/>
                <a:gd name="connsiteY6" fmla="*/ 369093 h 764381"/>
                <a:gd name="connsiteX7" fmla="*/ 985837 w 1131093"/>
                <a:gd name="connsiteY7" fmla="*/ 371475 h 764381"/>
                <a:gd name="connsiteX8" fmla="*/ 985837 w 1131093"/>
                <a:gd name="connsiteY8" fmla="*/ 371475 h 764381"/>
                <a:gd name="connsiteX9" fmla="*/ 1012031 w 1131093"/>
                <a:gd name="connsiteY9" fmla="*/ 345281 h 764381"/>
                <a:gd name="connsiteX10" fmla="*/ 1038225 w 1131093"/>
                <a:gd name="connsiteY10" fmla="*/ 354806 h 764381"/>
                <a:gd name="connsiteX11" fmla="*/ 1062037 w 1131093"/>
                <a:gd name="connsiteY11" fmla="*/ 366712 h 764381"/>
                <a:gd name="connsiteX12" fmla="*/ 1057275 w 1131093"/>
                <a:gd name="connsiteY12" fmla="*/ 345281 h 764381"/>
                <a:gd name="connsiteX13" fmla="*/ 1040606 w 1131093"/>
                <a:gd name="connsiteY13" fmla="*/ 330993 h 764381"/>
                <a:gd name="connsiteX14" fmla="*/ 1016793 w 1131093"/>
                <a:gd name="connsiteY14" fmla="*/ 330993 h 764381"/>
                <a:gd name="connsiteX15" fmla="*/ 997743 w 1131093"/>
                <a:gd name="connsiteY15" fmla="*/ 300037 h 764381"/>
                <a:gd name="connsiteX16" fmla="*/ 1026318 w 1131093"/>
                <a:gd name="connsiteY16" fmla="*/ 300037 h 764381"/>
                <a:gd name="connsiteX17" fmla="*/ 1028700 w 1131093"/>
                <a:gd name="connsiteY17" fmla="*/ 280987 h 764381"/>
                <a:gd name="connsiteX18" fmla="*/ 957262 w 1131093"/>
                <a:gd name="connsiteY18" fmla="*/ 233362 h 764381"/>
                <a:gd name="connsiteX19" fmla="*/ 976312 w 1131093"/>
                <a:gd name="connsiteY19" fmla="*/ 216693 h 764381"/>
                <a:gd name="connsiteX20" fmla="*/ 1016793 w 1131093"/>
                <a:gd name="connsiteY20" fmla="*/ 238125 h 764381"/>
                <a:gd name="connsiteX21" fmla="*/ 1019175 w 1131093"/>
                <a:gd name="connsiteY21" fmla="*/ 207168 h 764381"/>
                <a:gd name="connsiteX22" fmla="*/ 983456 w 1131093"/>
                <a:gd name="connsiteY22" fmla="*/ 169068 h 764381"/>
                <a:gd name="connsiteX23" fmla="*/ 926306 w 1131093"/>
                <a:gd name="connsiteY23" fmla="*/ 171450 h 764381"/>
                <a:gd name="connsiteX24" fmla="*/ 897731 w 1131093"/>
                <a:gd name="connsiteY24" fmla="*/ 147637 h 764381"/>
                <a:gd name="connsiteX25" fmla="*/ 873918 w 1131093"/>
                <a:gd name="connsiteY25" fmla="*/ 150018 h 764381"/>
                <a:gd name="connsiteX26" fmla="*/ 850106 w 1131093"/>
                <a:gd name="connsiteY26" fmla="*/ 138112 h 764381"/>
                <a:gd name="connsiteX27" fmla="*/ 859631 w 1131093"/>
                <a:gd name="connsiteY27" fmla="*/ 73818 h 764381"/>
                <a:gd name="connsiteX28" fmla="*/ 826293 w 1131093"/>
                <a:gd name="connsiteY28" fmla="*/ 42862 h 764381"/>
                <a:gd name="connsiteX29" fmla="*/ 754856 w 1131093"/>
                <a:gd name="connsiteY29" fmla="*/ 0 h 764381"/>
                <a:gd name="connsiteX30" fmla="*/ 728662 w 1131093"/>
                <a:gd name="connsiteY30" fmla="*/ 14287 h 764381"/>
                <a:gd name="connsiteX31" fmla="*/ 721518 w 1131093"/>
                <a:gd name="connsiteY31" fmla="*/ 42862 h 764381"/>
                <a:gd name="connsiteX32" fmla="*/ 714375 w 1131093"/>
                <a:gd name="connsiteY32" fmla="*/ 50006 h 764381"/>
                <a:gd name="connsiteX33" fmla="*/ 666750 w 1131093"/>
                <a:gd name="connsiteY33" fmla="*/ 35718 h 764381"/>
                <a:gd name="connsiteX34" fmla="*/ 645318 w 1131093"/>
                <a:gd name="connsiteY34" fmla="*/ 42862 h 764381"/>
                <a:gd name="connsiteX35" fmla="*/ 647700 w 1131093"/>
                <a:gd name="connsiteY35" fmla="*/ 73818 h 764381"/>
                <a:gd name="connsiteX36" fmla="*/ 566737 w 1131093"/>
                <a:gd name="connsiteY36" fmla="*/ 180975 h 764381"/>
                <a:gd name="connsiteX37" fmla="*/ 559593 w 1131093"/>
                <a:gd name="connsiteY37" fmla="*/ 226218 h 764381"/>
                <a:gd name="connsiteX38" fmla="*/ 500062 w 1131093"/>
                <a:gd name="connsiteY38" fmla="*/ 261937 h 764381"/>
                <a:gd name="connsiteX39" fmla="*/ 466725 w 1131093"/>
                <a:gd name="connsiteY39" fmla="*/ 328612 h 764381"/>
                <a:gd name="connsiteX40" fmla="*/ 450056 w 1131093"/>
                <a:gd name="connsiteY40" fmla="*/ 364331 h 764381"/>
                <a:gd name="connsiteX41" fmla="*/ 435768 w 1131093"/>
                <a:gd name="connsiteY41" fmla="*/ 476250 h 764381"/>
                <a:gd name="connsiteX42" fmla="*/ 433387 w 1131093"/>
                <a:gd name="connsiteY42" fmla="*/ 490537 h 764381"/>
                <a:gd name="connsiteX43" fmla="*/ 381000 w 1131093"/>
                <a:gd name="connsiteY43" fmla="*/ 516731 h 764381"/>
                <a:gd name="connsiteX44" fmla="*/ 326231 w 1131093"/>
                <a:gd name="connsiteY44" fmla="*/ 540543 h 764381"/>
                <a:gd name="connsiteX45" fmla="*/ 297656 w 1131093"/>
                <a:gd name="connsiteY45" fmla="*/ 554831 h 764381"/>
                <a:gd name="connsiteX46" fmla="*/ 285750 w 1131093"/>
                <a:gd name="connsiteY46" fmla="*/ 597693 h 764381"/>
                <a:gd name="connsiteX47" fmla="*/ 242887 w 1131093"/>
                <a:gd name="connsiteY47" fmla="*/ 576262 h 764381"/>
                <a:gd name="connsiteX48" fmla="*/ 226218 w 1131093"/>
                <a:gd name="connsiteY48" fmla="*/ 573881 h 764381"/>
                <a:gd name="connsiteX49" fmla="*/ 176212 w 1131093"/>
                <a:gd name="connsiteY49" fmla="*/ 521493 h 764381"/>
                <a:gd name="connsiteX50" fmla="*/ 159543 w 1131093"/>
                <a:gd name="connsiteY50" fmla="*/ 531018 h 764381"/>
                <a:gd name="connsiteX51" fmla="*/ 157162 w 1131093"/>
                <a:gd name="connsiteY51" fmla="*/ 581025 h 764381"/>
                <a:gd name="connsiteX52" fmla="*/ 100012 w 1131093"/>
                <a:gd name="connsiteY52" fmla="*/ 626268 h 764381"/>
                <a:gd name="connsiteX53" fmla="*/ 85725 w 1131093"/>
                <a:gd name="connsiteY53" fmla="*/ 683418 h 764381"/>
                <a:gd name="connsiteX54" fmla="*/ 0 w 1131093"/>
                <a:gd name="connsiteY54" fmla="*/ 764381 h 764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131093" h="764381">
                  <a:moveTo>
                    <a:pt x="0" y="764381"/>
                  </a:moveTo>
                  <a:lnTo>
                    <a:pt x="57150" y="754856"/>
                  </a:lnTo>
                  <a:lnTo>
                    <a:pt x="1131093" y="404812"/>
                  </a:lnTo>
                  <a:lnTo>
                    <a:pt x="1100137" y="373856"/>
                  </a:lnTo>
                  <a:lnTo>
                    <a:pt x="1078706" y="388143"/>
                  </a:lnTo>
                  <a:lnTo>
                    <a:pt x="1050131" y="388143"/>
                  </a:lnTo>
                  <a:lnTo>
                    <a:pt x="1023937" y="369093"/>
                  </a:lnTo>
                  <a:lnTo>
                    <a:pt x="985837" y="371475"/>
                  </a:lnTo>
                  <a:lnTo>
                    <a:pt x="985837" y="371475"/>
                  </a:lnTo>
                  <a:lnTo>
                    <a:pt x="1012031" y="345281"/>
                  </a:lnTo>
                  <a:lnTo>
                    <a:pt x="1038225" y="354806"/>
                  </a:lnTo>
                  <a:lnTo>
                    <a:pt x="1062037" y="366712"/>
                  </a:lnTo>
                  <a:lnTo>
                    <a:pt x="1057275" y="345281"/>
                  </a:lnTo>
                  <a:lnTo>
                    <a:pt x="1040606" y="330993"/>
                  </a:lnTo>
                  <a:lnTo>
                    <a:pt x="1016793" y="330993"/>
                  </a:lnTo>
                  <a:lnTo>
                    <a:pt x="997743" y="300037"/>
                  </a:lnTo>
                  <a:lnTo>
                    <a:pt x="1026318" y="300037"/>
                  </a:lnTo>
                  <a:lnTo>
                    <a:pt x="1028700" y="280987"/>
                  </a:lnTo>
                  <a:lnTo>
                    <a:pt x="957262" y="233362"/>
                  </a:lnTo>
                  <a:lnTo>
                    <a:pt x="976312" y="216693"/>
                  </a:lnTo>
                  <a:lnTo>
                    <a:pt x="1016793" y="238125"/>
                  </a:lnTo>
                  <a:lnTo>
                    <a:pt x="1019175" y="207168"/>
                  </a:lnTo>
                  <a:lnTo>
                    <a:pt x="983456" y="169068"/>
                  </a:lnTo>
                  <a:lnTo>
                    <a:pt x="926306" y="171450"/>
                  </a:lnTo>
                  <a:lnTo>
                    <a:pt x="897731" y="147637"/>
                  </a:lnTo>
                  <a:lnTo>
                    <a:pt x="873918" y="150018"/>
                  </a:lnTo>
                  <a:lnTo>
                    <a:pt x="850106" y="138112"/>
                  </a:lnTo>
                  <a:lnTo>
                    <a:pt x="859631" y="73818"/>
                  </a:lnTo>
                  <a:lnTo>
                    <a:pt x="826293" y="42862"/>
                  </a:lnTo>
                  <a:lnTo>
                    <a:pt x="754856" y="0"/>
                  </a:lnTo>
                  <a:lnTo>
                    <a:pt x="728662" y="14287"/>
                  </a:lnTo>
                  <a:lnTo>
                    <a:pt x="721518" y="42862"/>
                  </a:lnTo>
                  <a:lnTo>
                    <a:pt x="714375" y="50006"/>
                  </a:lnTo>
                  <a:lnTo>
                    <a:pt x="666750" y="35718"/>
                  </a:lnTo>
                  <a:lnTo>
                    <a:pt x="645318" y="42862"/>
                  </a:lnTo>
                  <a:lnTo>
                    <a:pt x="647700" y="73818"/>
                  </a:lnTo>
                  <a:lnTo>
                    <a:pt x="566737" y="180975"/>
                  </a:lnTo>
                  <a:lnTo>
                    <a:pt x="559593" y="226218"/>
                  </a:lnTo>
                  <a:lnTo>
                    <a:pt x="500062" y="261937"/>
                  </a:lnTo>
                  <a:lnTo>
                    <a:pt x="466725" y="328612"/>
                  </a:lnTo>
                  <a:lnTo>
                    <a:pt x="450056" y="364331"/>
                  </a:lnTo>
                  <a:lnTo>
                    <a:pt x="435768" y="476250"/>
                  </a:lnTo>
                  <a:lnTo>
                    <a:pt x="433387" y="490537"/>
                  </a:lnTo>
                  <a:lnTo>
                    <a:pt x="381000" y="516731"/>
                  </a:lnTo>
                  <a:lnTo>
                    <a:pt x="326231" y="540543"/>
                  </a:lnTo>
                  <a:lnTo>
                    <a:pt x="297656" y="554831"/>
                  </a:lnTo>
                  <a:lnTo>
                    <a:pt x="285750" y="597693"/>
                  </a:lnTo>
                  <a:lnTo>
                    <a:pt x="242887" y="576262"/>
                  </a:lnTo>
                  <a:lnTo>
                    <a:pt x="226218" y="573881"/>
                  </a:lnTo>
                  <a:lnTo>
                    <a:pt x="176212" y="521493"/>
                  </a:lnTo>
                  <a:lnTo>
                    <a:pt x="159543" y="531018"/>
                  </a:lnTo>
                  <a:lnTo>
                    <a:pt x="157162" y="581025"/>
                  </a:lnTo>
                  <a:lnTo>
                    <a:pt x="100012" y="626268"/>
                  </a:lnTo>
                  <a:lnTo>
                    <a:pt x="85725" y="683418"/>
                  </a:lnTo>
                  <a:lnTo>
                    <a:pt x="0" y="7643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>
              <a:off x="7724776" y="2605088"/>
              <a:ext cx="50006" cy="109537"/>
            </a:xfrm>
            <a:custGeom>
              <a:avLst/>
              <a:gdLst>
                <a:gd name="connsiteX0" fmla="*/ 14288 w 40481"/>
                <a:gd name="connsiteY0" fmla="*/ 0 h 109537"/>
                <a:gd name="connsiteX1" fmla="*/ 4763 w 40481"/>
                <a:gd name="connsiteY1" fmla="*/ 57150 h 109537"/>
                <a:gd name="connsiteX2" fmla="*/ 0 w 40481"/>
                <a:gd name="connsiteY2" fmla="*/ 95250 h 109537"/>
                <a:gd name="connsiteX3" fmla="*/ 9525 w 40481"/>
                <a:gd name="connsiteY3" fmla="*/ 109537 h 109537"/>
                <a:gd name="connsiteX4" fmla="*/ 30956 w 40481"/>
                <a:gd name="connsiteY4" fmla="*/ 90487 h 109537"/>
                <a:gd name="connsiteX5" fmla="*/ 40481 w 40481"/>
                <a:gd name="connsiteY5" fmla="*/ 52387 h 109537"/>
                <a:gd name="connsiteX6" fmla="*/ 14288 w 40481"/>
                <a:gd name="connsiteY6" fmla="*/ 0 h 109537"/>
                <a:gd name="connsiteX0" fmla="*/ 14288 w 50006"/>
                <a:gd name="connsiteY0" fmla="*/ 0 h 109537"/>
                <a:gd name="connsiteX1" fmla="*/ 4763 w 50006"/>
                <a:gd name="connsiteY1" fmla="*/ 57150 h 109537"/>
                <a:gd name="connsiteX2" fmla="*/ 0 w 50006"/>
                <a:gd name="connsiteY2" fmla="*/ 95250 h 109537"/>
                <a:gd name="connsiteX3" fmla="*/ 9525 w 50006"/>
                <a:gd name="connsiteY3" fmla="*/ 109537 h 109537"/>
                <a:gd name="connsiteX4" fmla="*/ 30956 w 50006"/>
                <a:gd name="connsiteY4" fmla="*/ 90487 h 109537"/>
                <a:gd name="connsiteX5" fmla="*/ 50006 w 50006"/>
                <a:gd name="connsiteY5" fmla="*/ 33337 h 109537"/>
                <a:gd name="connsiteX6" fmla="*/ 14288 w 50006"/>
                <a:gd name="connsiteY6" fmla="*/ 0 h 109537"/>
                <a:gd name="connsiteX0" fmla="*/ 14288 w 50006"/>
                <a:gd name="connsiteY0" fmla="*/ 0 h 109537"/>
                <a:gd name="connsiteX1" fmla="*/ 4763 w 50006"/>
                <a:gd name="connsiteY1" fmla="*/ 57150 h 109537"/>
                <a:gd name="connsiteX2" fmla="*/ 0 w 50006"/>
                <a:gd name="connsiteY2" fmla="*/ 95250 h 109537"/>
                <a:gd name="connsiteX3" fmla="*/ 9525 w 50006"/>
                <a:gd name="connsiteY3" fmla="*/ 109537 h 109537"/>
                <a:gd name="connsiteX4" fmla="*/ 30956 w 50006"/>
                <a:gd name="connsiteY4" fmla="*/ 90487 h 109537"/>
                <a:gd name="connsiteX5" fmla="*/ 50006 w 50006"/>
                <a:gd name="connsiteY5" fmla="*/ 33337 h 109537"/>
                <a:gd name="connsiteX6" fmla="*/ 26193 w 50006"/>
                <a:gd name="connsiteY6" fmla="*/ 11906 h 109537"/>
                <a:gd name="connsiteX7" fmla="*/ 14288 w 50006"/>
                <a:gd name="connsiteY7" fmla="*/ 0 h 10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06" h="109537">
                  <a:moveTo>
                    <a:pt x="14288" y="0"/>
                  </a:moveTo>
                  <a:lnTo>
                    <a:pt x="4763" y="57150"/>
                  </a:lnTo>
                  <a:lnTo>
                    <a:pt x="0" y="95250"/>
                  </a:lnTo>
                  <a:lnTo>
                    <a:pt x="9525" y="109537"/>
                  </a:lnTo>
                  <a:lnTo>
                    <a:pt x="30956" y="90487"/>
                  </a:lnTo>
                  <a:lnTo>
                    <a:pt x="50006" y="33337"/>
                  </a:lnTo>
                  <a:lnTo>
                    <a:pt x="26193" y="11906"/>
                  </a:lnTo>
                  <a:lnTo>
                    <a:pt x="1428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en-GB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sz="1800">
                <a:solidFill>
                  <a:schemeClr val="bg1"/>
                </a:solidFill>
                <a:ea typeface="ＭＳ Ｐゴシック" charset="-128"/>
              </a:endParaRPr>
            </a:p>
          </p:txBody>
        </p:sp>
      </p:grpSp>
      <p:sp>
        <p:nvSpPr>
          <p:cNvPr id="52" name="Freeform 51"/>
          <p:cNvSpPr/>
          <p:nvPr/>
        </p:nvSpPr>
        <p:spPr>
          <a:xfrm>
            <a:off x="6403887" y="2939203"/>
            <a:ext cx="632051" cy="712752"/>
          </a:xfrm>
          <a:custGeom>
            <a:avLst/>
            <a:gdLst>
              <a:gd name="connsiteX0" fmla="*/ 0 w 652463"/>
              <a:gd name="connsiteY0" fmla="*/ 202406 h 735806"/>
              <a:gd name="connsiteX1" fmla="*/ 114300 w 652463"/>
              <a:gd name="connsiteY1" fmla="*/ 683419 h 735806"/>
              <a:gd name="connsiteX2" fmla="*/ 176213 w 652463"/>
              <a:gd name="connsiteY2" fmla="*/ 711994 h 735806"/>
              <a:gd name="connsiteX3" fmla="*/ 228600 w 652463"/>
              <a:gd name="connsiteY3" fmla="*/ 711994 h 735806"/>
              <a:gd name="connsiteX4" fmla="*/ 340519 w 652463"/>
              <a:gd name="connsiteY4" fmla="*/ 700087 h 735806"/>
              <a:gd name="connsiteX5" fmla="*/ 383382 w 652463"/>
              <a:gd name="connsiteY5" fmla="*/ 681037 h 735806"/>
              <a:gd name="connsiteX6" fmla="*/ 397669 w 652463"/>
              <a:gd name="connsiteY6" fmla="*/ 702469 h 735806"/>
              <a:gd name="connsiteX7" fmla="*/ 419100 w 652463"/>
              <a:gd name="connsiteY7" fmla="*/ 704850 h 735806"/>
              <a:gd name="connsiteX8" fmla="*/ 435769 w 652463"/>
              <a:gd name="connsiteY8" fmla="*/ 731044 h 735806"/>
              <a:gd name="connsiteX9" fmla="*/ 454819 w 652463"/>
              <a:gd name="connsiteY9" fmla="*/ 735806 h 735806"/>
              <a:gd name="connsiteX10" fmla="*/ 509588 w 652463"/>
              <a:gd name="connsiteY10" fmla="*/ 669131 h 735806"/>
              <a:gd name="connsiteX11" fmla="*/ 495300 w 652463"/>
              <a:gd name="connsiteY11" fmla="*/ 650081 h 735806"/>
              <a:gd name="connsiteX12" fmla="*/ 502444 w 652463"/>
              <a:gd name="connsiteY12" fmla="*/ 611981 h 735806"/>
              <a:gd name="connsiteX13" fmla="*/ 535782 w 652463"/>
              <a:gd name="connsiteY13" fmla="*/ 600075 h 735806"/>
              <a:gd name="connsiteX14" fmla="*/ 542925 w 652463"/>
              <a:gd name="connsiteY14" fmla="*/ 623887 h 735806"/>
              <a:gd name="connsiteX15" fmla="*/ 564357 w 652463"/>
              <a:gd name="connsiteY15" fmla="*/ 597694 h 735806"/>
              <a:gd name="connsiteX16" fmla="*/ 552450 w 652463"/>
              <a:gd name="connsiteY16" fmla="*/ 566737 h 735806"/>
              <a:gd name="connsiteX17" fmla="*/ 538163 w 652463"/>
              <a:gd name="connsiteY17" fmla="*/ 545306 h 735806"/>
              <a:gd name="connsiteX18" fmla="*/ 564357 w 652463"/>
              <a:gd name="connsiteY18" fmla="*/ 526256 h 735806"/>
              <a:gd name="connsiteX19" fmla="*/ 621507 w 652463"/>
              <a:gd name="connsiteY19" fmla="*/ 464344 h 735806"/>
              <a:gd name="connsiteX20" fmla="*/ 652463 w 652463"/>
              <a:gd name="connsiteY20" fmla="*/ 404812 h 735806"/>
              <a:gd name="connsiteX21" fmla="*/ 650082 w 652463"/>
              <a:gd name="connsiteY21" fmla="*/ 228600 h 735806"/>
              <a:gd name="connsiteX22" fmla="*/ 581025 w 652463"/>
              <a:gd name="connsiteY22" fmla="*/ 0 h 735806"/>
              <a:gd name="connsiteX23" fmla="*/ 385763 w 652463"/>
              <a:gd name="connsiteY23" fmla="*/ 159544 h 735806"/>
              <a:gd name="connsiteX24" fmla="*/ 330994 w 652463"/>
              <a:gd name="connsiteY24" fmla="*/ 178594 h 735806"/>
              <a:gd name="connsiteX25" fmla="*/ 304800 w 652463"/>
              <a:gd name="connsiteY25" fmla="*/ 197644 h 735806"/>
              <a:gd name="connsiteX26" fmla="*/ 278607 w 652463"/>
              <a:gd name="connsiteY26" fmla="*/ 169069 h 735806"/>
              <a:gd name="connsiteX27" fmla="*/ 245269 w 652463"/>
              <a:gd name="connsiteY27" fmla="*/ 176212 h 735806"/>
              <a:gd name="connsiteX28" fmla="*/ 192882 w 652463"/>
              <a:gd name="connsiteY28" fmla="*/ 152400 h 735806"/>
              <a:gd name="connsiteX29" fmla="*/ 0 w 652463"/>
              <a:gd name="connsiteY29" fmla="*/ 202406 h 735806"/>
              <a:gd name="connsiteX0" fmla="*/ 0 w 652463"/>
              <a:gd name="connsiteY0" fmla="*/ 202406 h 735806"/>
              <a:gd name="connsiteX1" fmla="*/ 114300 w 652463"/>
              <a:gd name="connsiteY1" fmla="*/ 683419 h 735806"/>
              <a:gd name="connsiteX2" fmla="*/ 176213 w 652463"/>
              <a:gd name="connsiteY2" fmla="*/ 711994 h 735806"/>
              <a:gd name="connsiteX3" fmla="*/ 228600 w 652463"/>
              <a:gd name="connsiteY3" fmla="*/ 711994 h 735806"/>
              <a:gd name="connsiteX4" fmla="*/ 340519 w 652463"/>
              <a:gd name="connsiteY4" fmla="*/ 700087 h 735806"/>
              <a:gd name="connsiteX5" fmla="*/ 383382 w 652463"/>
              <a:gd name="connsiteY5" fmla="*/ 681037 h 735806"/>
              <a:gd name="connsiteX6" fmla="*/ 397669 w 652463"/>
              <a:gd name="connsiteY6" fmla="*/ 702469 h 735806"/>
              <a:gd name="connsiteX7" fmla="*/ 419100 w 652463"/>
              <a:gd name="connsiteY7" fmla="*/ 704850 h 735806"/>
              <a:gd name="connsiteX8" fmla="*/ 435769 w 652463"/>
              <a:gd name="connsiteY8" fmla="*/ 731044 h 735806"/>
              <a:gd name="connsiteX9" fmla="*/ 454819 w 652463"/>
              <a:gd name="connsiteY9" fmla="*/ 735806 h 735806"/>
              <a:gd name="connsiteX10" fmla="*/ 509588 w 652463"/>
              <a:gd name="connsiteY10" fmla="*/ 669131 h 735806"/>
              <a:gd name="connsiteX11" fmla="*/ 495300 w 652463"/>
              <a:gd name="connsiteY11" fmla="*/ 650081 h 735806"/>
              <a:gd name="connsiteX12" fmla="*/ 502444 w 652463"/>
              <a:gd name="connsiteY12" fmla="*/ 611981 h 735806"/>
              <a:gd name="connsiteX13" fmla="*/ 535782 w 652463"/>
              <a:gd name="connsiteY13" fmla="*/ 600075 h 735806"/>
              <a:gd name="connsiteX14" fmla="*/ 542925 w 652463"/>
              <a:gd name="connsiteY14" fmla="*/ 623887 h 735806"/>
              <a:gd name="connsiteX15" fmla="*/ 564357 w 652463"/>
              <a:gd name="connsiteY15" fmla="*/ 597694 h 735806"/>
              <a:gd name="connsiteX16" fmla="*/ 552450 w 652463"/>
              <a:gd name="connsiteY16" fmla="*/ 566737 h 735806"/>
              <a:gd name="connsiteX17" fmla="*/ 538163 w 652463"/>
              <a:gd name="connsiteY17" fmla="*/ 545306 h 735806"/>
              <a:gd name="connsiteX18" fmla="*/ 564357 w 652463"/>
              <a:gd name="connsiteY18" fmla="*/ 526256 h 735806"/>
              <a:gd name="connsiteX19" fmla="*/ 628633 w 652463"/>
              <a:gd name="connsiteY19" fmla="*/ 492950 h 735806"/>
              <a:gd name="connsiteX20" fmla="*/ 652463 w 652463"/>
              <a:gd name="connsiteY20" fmla="*/ 404812 h 735806"/>
              <a:gd name="connsiteX21" fmla="*/ 650082 w 652463"/>
              <a:gd name="connsiteY21" fmla="*/ 228600 h 735806"/>
              <a:gd name="connsiteX22" fmla="*/ 581025 w 652463"/>
              <a:gd name="connsiteY22" fmla="*/ 0 h 735806"/>
              <a:gd name="connsiteX23" fmla="*/ 385763 w 652463"/>
              <a:gd name="connsiteY23" fmla="*/ 159544 h 735806"/>
              <a:gd name="connsiteX24" fmla="*/ 330994 w 652463"/>
              <a:gd name="connsiteY24" fmla="*/ 178594 h 735806"/>
              <a:gd name="connsiteX25" fmla="*/ 304800 w 652463"/>
              <a:gd name="connsiteY25" fmla="*/ 197644 h 735806"/>
              <a:gd name="connsiteX26" fmla="*/ 278607 w 652463"/>
              <a:gd name="connsiteY26" fmla="*/ 169069 h 735806"/>
              <a:gd name="connsiteX27" fmla="*/ 245269 w 652463"/>
              <a:gd name="connsiteY27" fmla="*/ 176212 h 735806"/>
              <a:gd name="connsiteX28" fmla="*/ 192882 w 652463"/>
              <a:gd name="connsiteY28" fmla="*/ 152400 h 735806"/>
              <a:gd name="connsiteX29" fmla="*/ 0 w 652463"/>
              <a:gd name="connsiteY29" fmla="*/ 202406 h 735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652463" h="735806">
                <a:moveTo>
                  <a:pt x="0" y="202406"/>
                </a:moveTo>
                <a:lnTo>
                  <a:pt x="114300" y="683419"/>
                </a:lnTo>
                <a:lnTo>
                  <a:pt x="176213" y="711994"/>
                </a:lnTo>
                <a:lnTo>
                  <a:pt x="228600" y="711994"/>
                </a:lnTo>
                <a:lnTo>
                  <a:pt x="340519" y="700087"/>
                </a:lnTo>
                <a:lnTo>
                  <a:pt x="383382" y="681037"/>
                </a:lnTo>
                <a:lnTo>
                  <a:pt x="397669" y="702469"/>
                </a:lnTo>
                <a:lnTo>
                  <a:pt x="419100" y="704850"/>
                </a:lnTo>
                <a:lnTo>
                  <a:pt x="435769" y="731044"/>
                </a:lnTo>
                <a:lnTo>
                  <a:pt x="454819" y="735806"/>
                </a:lnTo>
                <a:lnTo>
                  <a:pt x="509588" y="669131"/>
                </a:lnTo>
                <a:lnTo>
                  <a:pt x="495300" y="650081"/>
                </a:lnTo>
                <a:lnTo>
                  <a:pt x="502444" y="611981"/>
                </a:lnTo>
                <a:lnTo>
                  <a:pt x="535782" y="600075"/>
                </a:lnTo>
                <a:lnTo>
                  <a:pt x="542925" y="623887"/>
                </a:lnTo>
                <a:lnTo>
                  <a:pt x="564357" y="597694"/>
                </a:lnTo>
                <a:lnTo>
                  <a:pt x="552450" y="566737"/>
                </a:lnTo>
                <a:lnTo>
                  <a:pt x="538163" y="545306"/>
                </a:lnTo>
                <a:lnTo>
                  <a:pt x="564357" y="526256"/>
                </a:lnTo>
                <a:lnTo>
                  <a:pt x="628633" y="492950"/>
                </a:lnTo>
                <a:cubicBezTo>
                  <a:pt x="638952" y="473106"/>
                  <a:pt x="642144" y="424656"/>
                  <a:pt x="652463" y="404812"/>
                </a:cubicBezTo>
                <a:cubicBezTo>
                  <a:pt x="651669" y="346075"/>
                  <a:pt x="650876" y="287337"/>
                  <a:pt x="650082" y="228600"/>
                </a:cubicBezTo>
                <a:lnTo>
                  <a:pt x="581025" y="0"/>
                </a:lnTo>
                <a:lnTo>
                  <a:pt x="385763" y="159544"/>
                </a:lnTo>
                <a:lnTo>
                  <a:pt x="330994" y="178594"/>
                </a:lnTo>
                <a:lnTo>
                  <a:pt x="304800" y="197644"/>
                </a:lnTo>
                <a:lnTo>
                  <a:pt x="278607" y="169069"/>
                </a:lnTo>
                <a:lnTo>
                  <a:pt x="245269" y="176212"/>
                </a:lnTo>
                <a:lnTo>
                  <a:pt x="192882" y="152400"/>
                </a:lnTo>
                <a:lnTo>
                  <a:pt x="0" y="20240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defPPr>
              <a:defRPr lang="en-GB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GB" sz="1800">
              <a:solidFill>
                <a:schemeClr val="bg1"/>
              </a:solidFill>
              <a:ea typeface="ＭＳ Ｐゴシック" charset="-128"/>
            </a:endParaRPr>
          </a:p>
        </p:txBody>
      </p:sp>
      <p:cxnSp>
        <p:nvCxnSpPr>
          <p:cNvPr id="147" name="Elbow Connector 146"/>
          <p:cNvCxnSpPr/>
          <p:nvPr/>
        </p:nvCxnSpPr>
        <p:spPr>
          <a:xfrm rot="16200000" flipH="1">
            <a:off x="7110645" y="4515267"/>
            <a:ext cx="1778748" cy="787197"/>
          </a:xfrm>
          <a:prstGeom prst="bentConnector3">
            <a:avLst>
              <a:gd name="adj1" fmla="val 50000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/>
        </p:nvSpPr>
        <p:spPr>
          <a:xfrm flipH="1">
            <a:off x="7508813" y="3916737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115" name="Group 114"/>
          <p:cNvGrpSpPr/>
          <p:nvPr/>
        </p:nvGrpSpPr>
        <p:grpSpPr>
          <a:xfrm>
            <a:off x="7836742" y="5671965"/>
            <a:ext cx="1117625" cy="952557"/>
            <a:chOff x="7845426" y="4272133"/>
            <a:chExt cx="1156527" cy="982307"/>
          </a:xfrm>
          <a:effectLst>
            <a:outerShdw blurRad="63500" dist="38100" dir="3600000" algn="ctr" rotWithShape="0">
              <a:schemeClr val="tx2">
                <a:lumMod val="50000"/>
                <a:alpha val="60000"/>
              </a:schemeClr>
            </a:outerShdw>
          </a:effectLst>
        </p:grpSpPr>
        <p:sp>
          <p:nvSpPr>
            <p:cNvPr id="126" name="Rectangle 125"/>
            <p:cNvSpPr/>
            <p:nvPr/>
          </p:nvSpPr>
          <p:spPr>
            <a:xfrm>
              <a:off x="7845426" y="4272133"/>
              <a:ext cx="1154688" cy="962803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chemeClr val="accent6"/>
                </a:solidFill>
              </a:endParaRPr>
            </a:p>
          </p:txBody>
        </p:sp>
        <p:pic>
          <p:nvPicPr>
            <p:cNvPr id="128" name="Picture 127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182"/>
            <a:stretch/>
          </p:blipFill>
          <p:spPr>
            <a:xfrm>
              <a:off x="7970526" y="4320560"/>
              <a:ext cx="880657" cy="462392"/>
            </a:xfrm>
            <a:prstGeom prst="rect">
              <a:avLst/>
            </a:prstGeom>
          </p:spPr>
        </p:pic>
        <p:sp>
          <p:nvSpPr>
            <p:cNvPr id="127" name="TextBox 126"/>
            <p:cNvSpPr txBox="1"/>
            <p:nvPr/>
          </p:nvSpPr>
          <p:spPr>
            <a:xfrm>
              <a:off x="7845426" y="4772257"/>
              <a:ext cx="1156527" cy="4821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675"/>
                </a:lnSpc>
              </a:pPr>
              <a:r>
                <a:rPr lang="en-US" sz="675">
                  <a:latin typeface="Calibri" panose="020F0502020204030204" pitchFamily="34" charset="0"/>
                </a:rPr>
                <a:t>Wide Bandgap Semiconductors</a:t>
              </a:r>
            </a:p>
            <a:p>
              <a:pPr algn="ctr">
                <a:lnSpc>
                  <a:spcPts val="675"/>
                </a:lnSpc>
              </a:pPr>
              <a:r>
                <a:rPr lang="en-US" sz="675" b="1" i="1">
                  <a:latin typeface="Calibri" panose="020F0502020204030204" pitchFamily="34" charset="0"/>
                </a:rPr>
                <a:t>Raleigh, NC</a:t>
              </a:r>
            </a:p>
          </p:txBody>
        </p:sp>
      </p:grpSp>
      <p:sp>
        <p:nvSpPr>
          <p:cNvPr id="175" name="TextBox 174"/>
          <p:cNvSpPr txBox="1"/>
          <p:nvPr/>
        </p:nvSpPr>
        <p:spPr>
          <a:xfrm>
            <a:off x="377883" y="1476514"/>
            <a:ext cx="1724383" cy="307777"/>
          </a:xfrm>
          <a:prstGeom prst="rect">
            <a:avLst/>
          </a:prstGeom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3399"/>
                </a:solidFill>
                <a:latin typeface="+mj-lt"/>
              </a:rPr>
              <a:t>Forthcoming </a:t>
            </a:r>
            <a:r>
              <a:rPr lang="en-US" sz="1400" b="1" dirty="0" smtClean="0">
                <a:solidFill>
                  <a:srgbClr val="003399"/>
                </a:solidFill>
                <a:latin typeface="+mj-lt"/>
              </a:rPr>
              <a:t>Awards</a:t>
            </a:r>
            <a:endParaRPr lang="en-US" sz="1400" b="1" dirty="0">
              <a:solidFill>
                <a:srgbClr val="003399"/>
              </a:solidFill>
              <a:latin typeface="+mj-lt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159694" y="2422938"/>
            <a:ext cx="936570" cy="4178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b">
            <a:spAutoFit/>
          </a:bodyPr>
          <a:lstStyle/>
          <a:p>
            <a:pPr algn="ctr"/>
            <a:r>
              <a:rPr lang="en-US" sz="750" b="1">
                <a:latin typeface="Calibri" panose="020F0502020204030204" pitchFamily="34" charset="0"/>
              </a:rPr>
              <a:t>Advanced Textiles</a:t>
            </a:r>
            <a:endParaRPr lang="en-US" sz="750" b="1" i="1">
              <a:latin typeface="Calibri" panose="020F0502020204030204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1196416" y="2506093"/>
            <a:ext cx="944066" cy="3231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rtlCol="0" anchor="b">
            <a:spAutoFit/>
          </a:bodyPr>
          <a:lstStyle/>
          <a:p>
            <a:pPr algn="ctr"/>
            <a:r>
              <a:rPr lang="en-US" sz="750" b="1" dirty="0">
                <a:latin typeface="Calibri" panose="020F0502020204030204" pitchFamily="34" charset="0"/>
              </a:rPr>
              <a:t>Smart</a:t>
            </a:r>
          </a:p>
          <a:p>
            <a:pPr algn="ctr"/>
            <a:r>
              <a:rPr lang="en-US" sz="750" b="1" dirty="0">
                <a:latin typeface="Calibri" panose="020F0502020204030204" pitchFamily="34" charset="0"/>
              </a:rPr>
              <a:t>Manufacturing</a:t>
            </a:r>
          </a:p>
        </p:txBody>
      </p:sp>
      <p:pic>
        <p:nvPicPr>
          <p:cNvPr id="178" name="Picture 17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352739" y="1822527"/>
            <a:ext cx="680222" cy="692325"/>
          </a:xfrm>
          <a:prstGeom prst="ellipse">
            <a:avLst/>
          </a:prstGeom>
          <a:ln w="19050" cap="rnd">
            <a:solidFill>
              <a:srgbClr val="333333"/>
            </a:solidFill>
          </a:ln>
          <a:effectLst>
            <a:outerShdw blurRad="50800" dist="38100" dir="3600000" algn="ctr" rotWithShape="0">
              <a:schemeClr val="tx2">
                <a:lumMod val="50000"/>
                <a:alpha val="6000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85" name="TextBox 184"/>
          <p:cNvSpPr txBox="1"/>
          <p:nvPr/>
        </p:nvSpPr>
        <p:spPr>
          <a:xfrm>
            <a:off x="199101" y="4890631"/>
            <a:ext cx="2575000" cy="307777"/>
          </a:xfrm>
          <a:prstGeom prst="rect">
            <a:avLst/>
          </a:prstGeom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3399"/>
                </a:solidFill>
                <a:latin typeface="+mj-lt"/>
              </a:rPr>
              <a:t>New Institutes Planned for </a:t>
            </a:r>
            <a:r>
              <a:rPr lang="en-US" sz="1400" b="1" dirty="0" smtClean="0">
                <a:solidFill>
                  <a:srgbClr val="003399"/>
                </a:solidFill>
                <a:latin typeface="+mj-lt"/>
              </a:rPr>
              <a:t>2016</a:t>
            </a:r>
            <a:endParaRPr lang="en-US" sz="1400" b="1" dirty="0">
              <a:solidFill>
                <a:srgbClr val="003399"/>
              </a:solidFill>
              <a:latin typeface="+mj-lt"/>
            </a:endParaRP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726" y="5197008"/>
            <a:ext cx="502450" cy="504192"/>
          </a:xfrm>
          <a:prstGeom prst="rect">
            <a:avLst/>
          </a:prstGeom>
        </p:spPr>
      </p:pic>
      <p:pic>
        <p:nvPicPr>
          <p:cNvPr id="187" name="Picture 18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313" y="5191820"/>
            <a:ext cx="502450" cy="504192"/>
          </a:xfrm>
          <a:prstGeom prst="rect">
            <a:avLst/>
          </a:prstGeom>
        </p:spPr>
      </p:pic>
      <p:sp>
        <p:nvSpPr>
          <p:cNvPr id="188" name="TextBox 187"/>
          <p:cNvSpPr txBox="1"/>
          <p:nvPr/>
        </p:nvSpPr>
        <p:spPr>
          <a:xfrm>
            <a:off x="1432596" y="5311019"/>
            <a:ext cx="203383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en-US" sz="1000" b="1" dirty="0">
                <a:latin typeface="Calibri" panose="020F0502020204030204" pitchFamily="34" charset="0"/>
              </a:rPr>
              <a:t>Open topic </a:t>
            </a:r>
            <a:r>
              <a:rPr lang="en-US" sz="1000" b="1" dirty="0" smtClean="0">
                <a:latin typeface="Calibri" panose="020F0502020204030204" pitchFamily="34" charset="0"/>
              </a:rPr>
              <a:t>competitions </a:t>
            </a:r>
            <a:endParaRPr lang="en-US" sz="1000" b="1" i="1" dirty="0">
              <a:latin typeface="Calibri" panose="020F0502020204030204" pitchFamily="34" charset="0"/>
            </a:endParaRPr>
          </a:p>
        </p:txBody>
      </p:sp>
      <p:pic>
        <p:nvPicPr>
          <p:cNvPr id="192" name="Picture 19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02" y="5793451"/>
            <a:ext cx="495846" cy="497566"/>
          </a:xfrm>
          <a:prstGeom prst="rect">
            <a:avLst/>
          </a:prstGeom>
        </p:spPr>
      </p:pic>
      <p:pic>
        <p:nvPicPr>
          <p:cNvPr id="193" name="Picture 19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15" y="5794774"/>
            <a:ext cx="495846" cy="497566"/>
          </a:xfrm>
          <a:prstGeom prst="rect">
            <a:avLst/>
          </a:prstGeom>
        </p:spPr>
      </p:pic>
      <p:sp>
        <p:nvSpPr>
          <p:cNvPr id="194" name="TextBox 193"/>
          <p:cNvSpPr txBox="1"/>
          <p:nvPr/>
        </p:nvSpPr>
        <p:spPr>
          <a:xfrm>
            <a:off x="231040" y="6351620"/>
            <a:ext cx="314942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>
                <a:latin typeface="Calibri" panose="020F0502020204030204" pitchFamily="34" charset="0"/>
              </a:rPr>
              <a:t>Selected topic competitions supporting agency mission,</a:t>
            </a:r>
          </a:p>
          <a:p>
            <a:pPr algn="ctr"/>
            <a:r>
              <a:rPr lang="en-US" sz="1000" b="1" dirty="0">
                <a:latin typeface="Calibri" panose="020F0502020204030204" pitchFamily="34" charset="0"/>
              </a:rPr>
              <a:t>using agency authorities and budgets </a:t>
            </a:r>
            <a:endParaRPr lang="en-US" sz="1000" b="1" i="1" dirty="0">
              <a:latin typeface="Calibri" panose="020F0502020204030204" pitchFamily="34" charset="0"/>
            </a:endParaRPr>
          </a:p>
        </p:txBody>
      </p:sp>
      <p:pic>
        <p:nvPicPr>
          <p:cNvPr id="117" name="Picture 116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577" y="1802598"/>
            <a:ext cx="744690" cy="746675"/>
          </a:xfrm>
          <a:prstGeom prst="rect">
            <a:avLst/>
          </a:prstGeom>
          <a:effectLst>
            <a:outerShdw blurRad="50800" dist="38100" dir="3600000" algn="ctr" rotWithShape="0">
              <a:schemeClr val="tx2">
                <a:lumMod val="50000"/>
                <a:alpha val="60000"/>
              </a:schemeClr>
            </a:outerShdw>
          </a:effectLst>
        </p:spPr>
      </p:pic>
      <p:sp>
        <p:nvSpPr>
          <p:cNvPr id="122" name="Rectangle 121"/>
          <p:cNvSpPr/>
          <p:nvPr/>
        </p:nvSpPr>
        <p:spPr>
          <a:xfrm>
            <a:off x="3879897" y="5666995"/>
            <a:ext cx="1116334" cy="936212"/>
          </a:xfrm>
          <a:prstGeom prst="rect">
            <a:avLst/>
          </a:prstGeom>
          <a:ln/>
          <a:effectLst>
            <a:outerShdw blurRad="50800" dist="38100" dir="3600000" algn="ctr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cxnSp>
        <p:nvCxnSpPr>
          <p:cNvPr id="132" name="Elbow Connector 131"/>
          <p:cNvCxnSpPr/>
          <p:nvPr/>
        </p:nvCxnSpPr>
        <p:spPr>
          <a:xfrm rot="5400000">
            <a:off x="5930085" y="4815215"/>
            <a:ext cx="1590277" cy="193520"/>
          </a:xfrm>
          <a:prstGeom prst="bentConnector3">
            <a:avLst>
              <a:gd name="adj1" fmla="val 103674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Oval 133"/>
          <p:cNvSpPr/>
          <p:nvPr/>
        </p:nvSpPr>
        <p:spPr>
          <a:xfrm flipH="1">
            <a:off x="6724372" y="3998052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40" name="Elbow Connector 139"/>
          <p:cNvCxnSpPr/>
          <p:nvPr/>
        </p:nvCxnSpPr>
        <p:spPr>
          <a:xfrm rot="5400000">
            <a:off x="4048122" y="3715713"/>
            <a:ext cx="2371511" cy="1521949"/>
          </a:xfrm>
          <a:prstGeom prst="bentConnector3">
            <a:avLst>
              <a:gd name="adj1" fmla="val 50000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3" name="Oval 142"/>
          <p:cNvSpPr/>
          <p:nvPr/>
        </p:nvSpPr>
        <p:spPr>
          <a:xfrm flipH="1">
            <a:off x="5906486" y="3088729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9" name="Rectangle 128"/>
          <p:cNvSpPr/>
          <p:nvPr/>
        </p:nvSpPr>
        <p:spPr>
          <a:xfrm>
            <a:off x="6508266" y="5665012"/>
            <a:ext cx="1122930" cy="936212"/>
          </a:xfrm>
          <a:prstGeom prst="rect">
            <a:avLst/>
          </a:prstGeom>
          <a:ln/>
          <a:effectLst>
            <a:outerShdw blurRad="63500" dist="38100" dir="3600000" algn="ctr" rotWithShape="0">
              <a:schemeClr val="tx2">
                <a:lumMod val="50000"/>
                <a:alpha val="6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cxnSp>
        <p:nvCxnSpPr>
          <p:cNvPr id="151" name="Elbow Connector 150"/>
          <p:cNvCxnSpPr>
            <a:endCxn id="119" idx="2"/>
          </p:cNvCxnSpPr>
          <p:nvPr/>
        </p:nvCxnSpPr>
        <p:spPr>
          <a:xfrm rot="16200000" flipV="1">
            <a:off x="5956337" y="2291310"/>
            <a:ext cx="1186404" cy="870984"/>
          </a:xfrm>
          <a:prstGeom prst="bentConnector3">
            <a:avLst>
              <a:gd name="adj1" fmla="val 50000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Box 159"/>
          <p:cNvSpPr txBox="1"/>
          <p:nvPr/>
        </p:nvSpPr>
        <p:spPr>
          <a:xfrm>
            <a:off x="3891807" y="6053561"/>
            <a:ext cx="1102960" cy="58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75"/>
              </a:lnSpc>
            </a:pPr>
            <a:r>
              <a:rPr lang="en-US" sz="675">
                <a:latin typeface="Calibri" panose="020F0502020204030204" pitchFamily="34" charset="0"/>
              </a:rPr>
              <a:t>Digital Manufacturing </a:t>
            </a:r>
            <a:br>
              <a:rPr lang="en-US" sz="675">
                <a:latin typeface="Calibri" panose="020F0502020204030204" pitchFamily="34" charset="0"/>
              </a:rPr>
            </a:br>
            <a:r>
              <a:rPr lang="en-US" sz="675">
                <a:latin typeface="Calibri" panose="020F0502020204030204" pitchFamily="34" charset="0"/>
              </a:rPr>
              <a:t>&amp; Design</a:t>
            </a:r>
          </a:p>
          <a:p>
            <a:pPr algn="ctr">
              <a:lnSpc>
                <a:spcPts val="675"/>
              </a:lnSpc>
            </a:pPr>
            <a:r>
              <a:rPr lang="en-US" sz="675" b="1" i="1">
                <a:latin typeface="Calibri" panose="020F0502020204030204" pitchFamily="34" charset="0"/>
              </a:rPr>
              <a:t>Chicago, IL</a:t>
            </a:r>
          </a:p>
        </p:txBody>
      </p:sp>
      <p:pic>
        <p:nvPicPr>
          <p:cNvPr id="162" name="Picture 16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7692" y="5723690"/>
            <a:ext cx="847556" cy="308305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99"/>
          <a:stretch/>
        </p:blipFill>
        <p:spPr>
          <a:xfrm>
            <a:off x="6686162" y="5713650"/>
            <a:ext cx="724296" cy="367655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6507203" y="6108007"/>
            <a:ext cx="1110316" cy="4642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675"/>
              </a:lnSpc>
            </a:pPr>
            <a:r>
              <a:rPr lang="en-US" sz="675">
                <a:latin typeface="Calibri" panose="020F0502020204030204" pitchFamily="34" charset="0"/>
              </a:rPr>
              <a:t>Advanced </a:t>
            </a:r>
            <a:br>
              <a:rPr lang="en-US" sz="675">
                <a:latin typeface="Calibri" panose="020F0502020204030204" pitchFamily="34" charset="0"/>
              </a:rPr>
            </a:br>
            <a:r>
              <a:rPr lang="en-US" sz="675">
                <a:latin typeface="Calibri" panose="020F0502020204030204" pitchFamily="34" charset="0"/>
              </a:rPr>
              <a:t>Fiber-Reinforced </a:t>
            </a:r>
            <a:br>
              <a:rPr lang="en-US" sz="675">
                <a:latin typeface="Calibri" panose="020F0502020204030204" pitchFamily="34" charset="0"/>
              </a:rPr>
            </a:br>
            <a:r>
              <a:rPr lang="en-US" sz="675">
                <a:latin typeface="Calibri" panose="020F0502020204030204" pitchFamily="34" charset="0"/>
              </a:rPr>
              <a:t>Polymer Composites</a:t>
            </a:r>
          </a:p>
          <a:p>
            <a:pPr algn="ctr">
              <a:lnSpc>
                <a:spcPts val="675"/>
              </a:lnSpc>
            </a:pPr>
            <a:r>
              <a:rPr lang="en-US" sz="675" b="1" i="1">
                <a:latin typeface="Calibri" panose="020F0502020204030204" pitchFamily="34" charset="0"/>
              </a:rPr>
              <a:t>Knoxville, TN</a:t>
            </a:r>
          </a:p>
        </p:txBody>
      </p:sp>
      <p:sp>
        <p:nvSpPr>
          <p:cNvPr id="155" name="Oval 154"/>
          <p:cNvSpPr/>
          <p:nvPr/>
        </p:nvSpPr>
        <p:spPr>
          <a:xfrm flipH="1">
            <a:off x="6887418" y="3175459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71" name="Group 70"/>
          <p:cNvGrpSpPr/>
          <p:nvPr/>
        </p:nvGrpSpPr>
        <p:grpSpPr>
          <a:xfrm>
            <a:off x="4822402" y="1258647"/>
            <a:ext cx="2410346" cy="330245"/>
            <a:chOff x="6796774" y="5824861"/>
            <a:chExt cx="3188510" cy="435353"/>
          </a:xfrm>
        </p:grpSpPr>
        <p:pic>
          <p:nvPicPr>
            <p:cNvPr id="163" name="Picture 162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70336"/>
            <a:stretch/>
          </p:blipFill>
          <p:spPr>
            <a:xfrm>
              <a:off x="6796774" y="5824861"/>
              <a:ext cx="2124920" cy="222214"/>
            </a:xfrm>
            <a:prstGeom prst="rect">
              <a:avLst/>
            </a:prstGeom>
          </p:spPr>
        </p:pic>
        <p:pic>
          <p:nvPicPr>
            <p:cNvPr id="104" name="Picture 103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1319"/>
            <a:stretch/>
          </p:blipFill>
          <p:spPr>
            <a:xfrm>
              <a:off x="7860364" y="6038000"/>
              <a:ext cx="2124920" cy="222214"/>
            </a:xfrm>
            <a:prstGeom prst="rect">
              <a:avLst/>
            </a:prstGeom>
          </p:spPr>
        </p:pic>
      </p:grpSp>
      <p:cxnSp>
        <p:nvCxnSpPr>
          <p:cNvPr id="157" name="Elbow Connector 156"/>
          <p:cNvCxnSpPr/>
          <p:nvPr/>
        </p:nvCxnSpPr>
        <p:spPr>
          <a:xfrm rot="5400000">
            <a:off x="4700219" y="3996779"/>
            <a:ext cx="2821426" cy="890977"/>
          </a:xfrm>
          <a:prstGeom prst="bentConnector3">
            <a:avLst>
              <a:gd name="adj1" fmla="val 67630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Oval 165"/>
          <p:cNvSpPr/>
          <p:nvPr/>
        </p:nvSpPr>
        <p:spPr>
          <a:xfrm flipH="1">
            <a:off x="6467068" y="2887362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8" name="Rectangle 117"/>
          <p:cNvSpPr/>
          <p:nvPr/>
        </p:nvSpPr>
        <p:spPr>
          <a:xfrm>
            <a:off x="5195121" y="5669398"/>
            <a:ext cx="1114258" cy="936212"/>
          </a:xfrm>
          <a:prstGeom prst="rect">
            <a:avLst/>
          </a:prstGeom>
          <a:ln/>
          <a:effectLst>
            <a:outerShdw blurRad="50800" dist="38100" dir="3600000" algn="ctr" rotWithShape="0">
              <a:schemeClr val="tx2">
                <a:lumMod val="50000"/>
                <a:alpha val="6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chemeClr val="accent6"/>
              </a:solidFill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5198083" y="6173850"/>
            <a:ext cx="1111295" cy="467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75"/>
              </a:lnSpc>
            </a:pPr>
            <a:r>
              <a:rPr lang="en-US" sz="675">
                <a:latin typeface="Calibri" panose="020F0502020204030204" pitchFamily="34" charset="0"/>
              </a:rPr>
              <a:t>Lightweight Metal Manufacturing</a:t>
            </a:r>
          </a:p>
          <a:p>
            <a:pPr algn="ctr">
              <a:lnSpc>
                <a:spcPts val="675"/>
              </a:lnSpc>
            </a:pPr>
            <a:r>
              <a:rPr lang="en-US" sz="675" b="1" i="1">
                <a:latin typeface="Calibri" panose="020F0502020204030204" pitchFamily="34" charset="0"/>
              </a:rPr>
              <a:t>Detroit, MI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7388" y="5713649"/>
            <a:ext cx="632419" cy="318344"/>
          </a:xfrm>
          <a:prstGeom prst="rect">
            <a:avLst/>
          </a:prstGeom>
        </p:spPr>
      </p:pic>
      <p:cxnSp>
        <p:nvCxnSpPr>
          <p:cNvPr id="169" name="Elbow Connector 168"/>
          <p:cNvCxnSpPr/>
          <p:nvPr/>
        </p:nvCxnSpPr>
        <p:spPr>
          <a:xfrm rot="5400000" flipH="1" flipV="1">
            <a:off x="7175134" y="1745326"/>
            <a:ext cx="906533" cy="683935"/>
          </a:xfrm>
          <a:prstGeom prst="bentConnector4">
            <a:avLst>
              <a:gd name="adj1" fmla="val 13240"/>
              <a:gd name="adj2" fmla="val 133507"/>
            </a:avLst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0" name="Oval 169"/>
          <p:cNvSpPr/>
          <p:nvPr/>
        </p:nvSpPr>
        <p:spPr>
          <a:xfrm flipH="1">
            <a:off x="7193394" y="2531162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103" name="Group 102"/>
          <p:cNvGrpSpPr/>
          <p:nvPr/>
        </p:nvGrpSpPr>
        <p:grpSpPr>
          <a:xfrm>
            <a:off x="6872971" y="1183971"/>
            <a:ext cx="1108804" cy="949629"/>
            <a:chOff x="7801114" y="709471"/>
            <a:chExt cx="1147398" cy="979285"/>
          </a:xfrm>
          <a:effectLst>
            <a:outerShdw blurRad="50800" dist="38100" dir="3600000" algn="ctr" rotWithShape="0">
              <a:schemeClr val="tx2">
                <a:lumMod val="50000"/>
                <a:alpha val="60000"/>
              </a:schemeClr>
            </a:outerShdw>
          </a:effectLst>
        </p:grpSpPr>
        <p:sp>
          <p:nvSpPr>
            <p:cNvPr id="141" name="Rectangle 140"/>
            <p:cNvSpPr/>
            <p:nvPr/>
          </p:nvSpPr>
          <p:spPr>
            <a:xfrm>
              <a:off x="7801115" y="709471"/>
              <a:ext cx="1147397" cy="968174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chemeClr val="accent6"/>
                </a:solidFill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7801114" y="1206575"/>
              <a:ext cx="1147398" cy="4821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675"/>
                </a:lnSpc>
              </a:pPr>
              <a:r>
                <a:rPr lang="en-US" sz="675">
                  <a:latin typeface="Calibri" panose="020F0502020204030204" pitchFamily="34" charset="0"/>
                </a:rPr>
                <a:t>Integrated Photonics</a:t>
              </a:r>
            </a:p>
            <a:p>
              <a:pPr algn="ctr">
                <a:lnSpc>
                  <a:spcPts val="675"/>
                </a:lnSpc>
              </a:pPr>
              <a:r>
                <a:rPr lang="en-US" sz="675" b="1" i="1">
                  <a:latin typeface="Calibri" panose="020F0502020204030204" pitchFamily="34" charset="0"/>
                </a:rPr>
                <a:t>Rochester, NY</a:t>
              </a:r>
            </a:p>
          </p:txBody>
        </p:sp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93657" y="772320"/>
              <a:ext cx="965535" cy="400057"/>
            </a:xfrm>
            <a:prstGeom prst="rect">
              <a:avLst/>
            </a:prstGeom>
          </p:spPr>
        </p:pic>
      </p:grpSp>
      <p:grpSp>
        <p:nvGrpSpPr>
          <p:cNvPr id="59" name="Group 58"/>
          <p:cNvGrpSpPr/>
          <p:nvPr/>
        </p:nvGrpSpPr>
        <p:grpSpPr>
          <a:xfrm>
            <a:off x="4174503" y="1164318"/>
            <a:ext cx="1154540" cy="969282"/>
            <a:chOff x="2126976" y="1068484"/>
            <a:chExt cx="1154540" cy="969282"/>
          </a:xfrm>
        </p:grpSpPr>
        <p:sp>
          <p:nvSpPr>
            <p:cNvPr id="123" name="Rectangle 122"/>
            <p:cNvSpPr/>
            <p:nvPr/>
          </p:nvSpPr>
          <p:spPr>
            <a:xfrm>
              <a:off x="2126976" y="1068484"/>
              <a:ext cx="1120679" cy="936211"/>
            </a:xfrm>
            <a:prstGeom prst="rect">
              <a:avLst/>
            </a:prstGeom>
            <a:ln/>
            <a:effectLst>
              <a:outerShdw blurRad="50800" dist="38100" dir="3600000" algn="ctr" rotWithShape="0">
                <a:schemeClr val="tx2">
                  <a:lumMod val="50000"/>
                  <a:alpha val="60000"/>
                </a:scheme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chemeClr val="accent6"/>
                </a:solidFill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2159028" y="1765897"/>
              <a:ext cx="1122488" cy="2718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675"/>
                </a:lnSpc>
              </a:pPr>
              <a:r>
                <a:rPr lang="en-US" sz="675" dirty="0" smtClean="0">
                  <a:latin typeface="Calibri" panose="020F0502020204030204" pitchFamily="34" charset="0"/>
                </a:rPr>
                <a:t>Flexible Hybrid Electronics</a:t>
              </a:r>
            </a:p>
            <a:p>
              <a:pPr algn="ctr">
                <a:lnSpc>
                  <a:spcPts val="675"/>
                </a:lnSpc>
              </a:pPr>
              <a:r>
                <a:rPr lang="en-US" sz="675" dirty="0" smtClean="0">
                  <a:latin typeface="Calibri" panose="020F0502020204030204" pitchFamily="34" charset="0"/>
                </a:rPr>
                <a:t>San Jose, CA</a:t>
              </a:r>
              <a:endParaRPr lang="en-US" sz="675" b="1" i="1" dirty="0">
                <a:latin typeface="Calibri" panose="020F0502020204030204" pitchFamily="34" charset="0"/>
              </a:endParaRPr>
            </a:p>
          </p:txBody>
        </p:sp>
        <p:pic>
          <p:nvPicPr>
            <p:cNvPr id="183" name="Picture 182"/>
            <p:cNvPicPr>
              <a:picLocks noChangeAspect="1"/>
            </p:cNvPicPr>
            <p:nvPr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34037" y="1117524"/>
              <a:ext cx="711803" cy="620514"/>
            </a:xfrm>
            <a:prstGeom prst="ellipse">
              <a:avLst/>
            </a:prstGeom>
            <a:ln w="19050" cap="rnd">
              <a:solidFill>
                <a:srgbClr val="333333"/>
              </a:solidFill>
            </a:ln>
            <a:effectLst>
              <a:outerShdw blurRad="50800" dist="38100" dir="3600000" algn="ctr" rotWithShape="0">
                <a:schemeClr val="tx2">
                  <a:lumMod val="50000"/>
                  <a:alpha val="60000"/>
                </a:scheme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113" name="Title 5"/>
          <p:cNvSpPr txBox="1">
            <a:spLocks/>
          </p:cNvSpPr>
          <p:nvPr/>
        </p:nvSpPr>
        <p:spPr>
          <a:xfrm>
            <a:off x="1524000" y="23268"/>
            <a:ext cx="7620000" cy="912411"/>
          </a:xfrm>
          <a:prstGeom prst="rect">
            <a:avLst/>
          </a:prstGeom>
          <a:noFill/>
        </p:spPr>
        <p:txBody>
          <a:bodyPr rtlCol="0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algn="l">
              <a:defRPr/>
            </a:pPr>
            <a:r>
              <a:rPr lang="en-US" altLang="en-US" sz="2400" b="1" dirty="0">
                <a:solidFill>
                  <a:schemeClr val="bg1"/>
                </a:solidFill>
                <a:latin typeface="+mn-lt"/>
              </a:rPr>
              <a:t>National Network for Manufacturing </a:t>
            </a:r>
            <a:r>
              <a:rPr lang="en-US" altLang="en-US" sz="2400" b="1" dirty="0" smtClean="0">
                <a:solidFill>
                  <a:schemeClr val="bg1"/>
                </a:solidFill>
                <a:latin typeface="+mn-lt"/>
              </a:rPr>
              <a:t>Innovation</a:t>
            </a:r>
          </a:p>
          <a:p>
            <a:pPr marL="342900" algn="l"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Network </a:t>
            </a:r>
            <a:r>
              <a:rPr lang="en-US" sz="24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Status and FY16 Plans</a:t>
            </a:r>
            <a:endParaRPr lang="en-US" sz="2400" b="1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114" name="Elbow Connector 113"/>
          <p:cNvCxnSpPr>
            <a:stCxn id="123" idx="2"/>
            <a:endCxn id="33" idx="21"/>
          </p:cNvCxnSpPr>
          <p:nvPr/>
        </p:nvCxnSpPr>
        <p:spPr>
          <a:xfrm rot="5400000">
            <a:off x="2068758" y="1049796"/>
            <a:ext cx="1615353" cy="3716818"/>
          </a:xfrm>
          <a:prstGeom prst="bentConnector2">
            <a:avLst/>
          </a:prstGeom>
          <a:ln w="47625">
            <a:solidFill>
              <a:srgbClr val="C00000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5552803" y="1666020"/>
            <a:ext cx="1122488" cy="467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75"/>
              </a:lnSpc>
            </a:pPr>
            <a:r>
              <a:rPr lang="en-US" sz="675" dirty="0">
                <a:latin typeface="Calibri" panose="020F0502020204030204" pitchFamily="34" charset="0"/>
              </a:rPr>
              <a:t>Additive Manufacturing</a:t>
            </a:r>
          </a:p>
          <a:p>
            <a:pPr algn="ctr">
              <a:lnSpc>
                <a:spcPts val="675"/>
              </a:lnSpc>
            </a:pPr>
            <a:r>
              <a:rPr lang="en-US" sz="675" b="1" i="1" dirty="0">
                <a:latin typeface="Calibri" panose="020F0502020204030204" pitchFamily="34" charset="0"/>
              </a:rPr>
              <a:t>Youngstown, OH</a:t>
            </a:r>
          </a:p>
        </p:txBody>
      </p:sp>
      <p:sp>
        <p:nvSpPr>
          <p:cNvPr id="130" name="Oval 129"/>
          <p:cNvSpPr/>
          <p:nvPr/>
        </p:nvSpPr>
        <p:spPr>
          <a:xfrm flipH="1">
            <a:off x="966271" y="3657600"/>
            <a:ext cx="176729" cy="177341"/>
          </a:xfrm>
          <a:prstGeom prst="ellipse">
            <a:avLst/>
          </a:prstGeom>
          <a:solidFill>
            <a:schemeClr val="accent2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1" name="TextBox 130"/>
          <p:cNvSpPr txBox="1"/>
          <p:nvPr/>
        </p:nvSpPr>
        <p:spPr>
          <a:xfrm>
            <a:off x="35815" y="1185446"/>
            <a:ext cx="3539880" cy="338554"/>
          </a:xfrm>
          <a:prstGeom prst="rect">
            <a:avLst/>
          </a:prstGeom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003399"/>
                </a:solidFill>
                <a:latin typeface="+mj-lt"/>
              </a:rPr>
              <a:t>Future Network Goal: 45 Regional Hubs</a:t>
            </a:r>
          </a:p>
        </p:txBody>
      </p:sp>
      <p:pic>
        <p:nvPicPr>
          <p:cNvPr id="116" name="Picture 30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8737" y="5814333"/>
            <a:ext cx="501142" cy="478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" name="Picture 30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1867" y="5814333"/>
            <a:ext cx="501142" cy="478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99500" y="6547771"/>
            <a:ext cx="327481" cy="310229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z="1000" smtClean="0">
                <a:latin typeface="Arial"/>
                <a:cs typeface="Arial"/>
              </a:rPr>
              <a:pPr/>
              <a:t>18</a:t>
            </a:fld>
            <a:endParaRPr lang="en-US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295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676400"/>
            <a:ext cx="3808214" cy="464820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53251" name="Rectangle 3"/>
          <p:cNvSpPr>
            <a:spLocks/>
          </p:cNvSpPr>
          <p:nvPr/>
        </p:nvSpPr>
        <p:spPr bwMode="auto">
          <a:xfrm>
            <a:off x="4892278" y="1862733"/>
            <a:ext cx="3946922" cy="4080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26788" tIns="26788" rIns="75653" bIns="26788"/>
          <a:lstStyle/>
          <a:p>
            <a:r>
              <a:rPr lang="en-US" sz="2400" dirty="0"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Develop a Materials Innovation Infrastructure</a:t>
            </a:r>
          </a:p>
          <a:p>
            <a:pPr marL="300250" indent="-300250">
              <a:buFontTx/>
              <a:buAutoNum type="arabicPeriod"/>
            </a:pPr>
            <a:endParaRPr lang="en-US" sz="2400" dirty="0">
              <a:latin typeface="Calibri" charset="0"/>
              <a:ea typeface="ＭＳ Ｐゴシック" charset="0"/>
              <a:cs typeface="Calibri" charset="0"/>
              <a:sym typeface="Calibri" charset="0"/>
            </a:endParaRPr>
          </a:p>
          <a:p>
            <a:r>
              <a:rPr lang="en-US" sz="2400" dirty="0"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Achieve National goals in energy, security, and human welfare with advanced </a:t>
            </a:r>
            <a:r>
              <a:rPr lang="en-US" sz="2400" dirty="0" smtClean="0"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materials</a:t>
            </a:r>
          </a:p>
          <a:p>
            <a:pPr marL="300250" indent="-300250">
              <a:buFontTx/>
              <a:buAutoNum type="arabicPeriod"/>
            </a:pPr>
            <a:endParaRPr lang="en-US" sz="2400" dirty="0">
              <a:latin typeface="Calibri" charset="0"/>
              <a:ea typeface="ＭＳ Ｐゴシック" charset="0"/>
              <a:cs typeface="Calibri" charset="0"/>
              <a:sym typeface="Calibri" charset="0"/>
            </a:endParaRPr>
          </a:p>
          <a:p>
            <a:r>
              <a:rPr lang="en-US" sz="2400" dirty="0" smtClean="0"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Equip </a:t>
            </a:r>
            <a:r>
              <a:rPr lang="en-US" sz="2400" dirty="0"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the next generation materials workforc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52400" y="1219200"/>
            <a:ext cx="4343400" cy="5105400"/>
            <a:chOff x="304800" y="1676400"/>
            <a:chExt cx="4343400" cy="5105400"/>
          </a:xfrm>
        </p:grpSpPr>
        <p:pic>
          <p:nvPicPr>
            <p:cNvPr id="9" name="Picture 4"/>
            <p:cNvPicPr>
              <a:picLocks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33" y="2631502"/>
              <a:ext cx="4271367" cy="415029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304800" y="1676400"/>
              <a:ext cx="4114800" cy="990600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n-US" sz="2800" dirty="0"/>
            </a:p>
          </p:txBody>
        </p:sp>
      </p:grpSp>
      <p:pic>
        <p:nvPicPr>
          <p:cNvPr id="12" name="Picture 1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4800" y="5410200"/>
            <a:ext cx="11430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429000" y="6172200"/>
            <a:ext cx="4705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Materials Genome Initiative for Global Competitiveness</a:t>
            </a:r>
            <a:endParaRPr lang="en-US" sz="1400" i="1" dirty="0"/>
          </a:p>
        </p:txBody>
      </p:sp>
      <p:sp>
        <p:nvSpPr>
          <p:cNvPr id="53253" name="Rectangle 5"/>
          <p:cNvSpPr>
            <a:spLocks/>
          </p:cNvSpPr>
          <p:nvPr/>
        </p:nvSpPr>
        <p:spPr bwMode="auto">
          <a:xfrm>
            <a:off x="838200" y="1295400"/>
            <a:ext cx="731520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40627" bIns="0"/>
          <a:lstStyle/>
          <a:p>
            <a:pPr marL="39066" algn="ctr"/>
            <a:r>
              <a:rPr lang="en-US" sz="2400" b="1" dirty="0" smtClean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to </a:t>
            </a:r>
            <a:r>
              <a:rPr lang="en-US" sz="2400" b="1" dirty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decrease the </a:t>
            </a:r>
            <a:r>
              <a:rPr lang="en-US" sz="2400" b="1" dirty="0" smtClean="0">
                <a:solidFill>
                  <a:srgbClr val="000090"/>
                </a:solidFill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cost and </a:t>
            </a:r>
            <a:r>
              <a:rPr lang="en-US" sz="2400" b="1" dirty="0" smtClean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time</a:t>
            </a:r>
            <a:r>
              <a:rPr lang="en-US" sz="2400" b="1" dirty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-to-market </a:t>
            </a:r>
            <a:r>
              <a:rPr lang="en-US" sz="2400" b="1" dirty="0" smtClean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by </a:t>
            </a:r>
            <a:r>
              <a:rPr lang="en-US" sz="2400" b="1" dirty="0">
                <a:solidFill>
                  <a:srgbClr val="000090"/>
                </a:solidFill>
                <a:effectLst/>
                <a:latin typeface="Calibri" charset="0"/>
                <a:ea typeface="ＭＳ Ｐゴシック" charset="0"/>
                <a:cs typeface="Calibri" charset="0"/>
                <a:sym typeface="Calibri" charset="0"/>
              </a:rPr>
              <a:t>50%</a:t>
            </a:r>
          </a:p>
        </p:txBody>
      </p:sp>
      <p:sp>
        <p:nvSpPr>
          <p:cNvPr id="53252" name="Rectangle 4"/>
          <p:cNvSpPr>
            <a:spLocks/>
          </p:cNvSpPr>
          <p:nvPr/>
        </p:nvSpPr>
        <p:spPr bwMode="auto">
          <a:xfrm>
            <a:off x="1676400" y="228600"/>
            <a:ext cx="6491883" cy="607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40627" bIns="0" anchor="b"/>
          <a:lstStyle/>
          <a:p>
            <a:pPr marL="39066">
              <a:spcBef>
                <a:spcPct val="0"/>
              </a:spcBef>
            </a:pPr>
            <a:r>
              <a:rPr lang="en-US" sz="2400" b="1" cap="small" dirty="0">
                <a:solidFill>
                  <a:schemeClr val="bg1"/>
                </a:solidFill>
                <a:ea typeface="+mj-ea"/>
                <a:cs typeface="Helvetica" pitchFamily="34" charset="0"/>
                <a:sym typeface="Calibri Bold" charset="0"/>
              </a:rPr>
              <a:t>The Materials Genome Initiative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99500" y="6547771"/>
            <a:ext cx="327481" cy="310229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z="1000" smtClean="0">
                <a:latin typeface="Arial"/>
                <a:cs typeface="Arial"/>
              </a:rPr>
              <a:pPr/>
              <a:t>19</a:t>
            </a:fld>
            <a:endParaRPr lang="en-US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3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1548"/>
          <a:stretch/>
        </p:blipFill>
        <p:spPr>
          <a:xfrm>
            <a:off x="0" y="1308416"/>
            <a:ext cx="9144000" cy="504398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068733" y="-78564"/>
            <a:ext cx="9886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ay 1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0297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9612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2400" dirty="0">
                <a:latin typeface="Arial"/>
                <a:cs typeface="Arial"/>
              </a:rPr>
              <a:t>National Nanotechnology Initiative </a:t>
            </a:r>
            <a:endParaRPr lang="en-US" sz="24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600200"/>
            <a:ext cx="3505200" cy="4533900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4" name="Rectangle 3"/>
          <p:cNvSpPr/>
          <p:nvPr/>
        </p:nvSpPr>
        <p:spPr>
          <a:xfrm>
            <a:off x="4343400" y="1524000"/>
            <a:ext cx="4648200" cy="4832092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The vision of the National Nanotechnology Initiative (NNI) is a future in which the ability to understand and control matter at the </a:t>
            </a:r>
            <a:r>
              <a:rPr lang="en-US" sz="1400" dirty="0" err="1">
                <a:latin typeface="Arial"/>
                <a:cs typeface="Arial"/>
              </a:rPr>
              <a:t>nanoscale</a:t>
            </a:r>
            <a:r>
              <a:rPr lang="en-US" sz="1400" dirty="0">
                <a:latin typeface="Arial"/>
                <a:cs typeface="Arial"/>
              </a:rPr>
              <a:t> leads to a revolution in technology and industry that benefits society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>
              <a:latin typeface="Arial"/>
              <a:cs typeface="Arial"/>
            </a:endParaRPr>
          </a:p>
          <a:p>
            <a:r>
              <a:rPr lang="en-US" sz="1400" dirty="0">
                <a:latin typeface="Arial"/>
                <a:cs typeface="Arial"/>
              </a:rPr>
              <a:t>The NNI expedites the discovery, development, and deployment of </a:t>
            </a:r>
            <a:r>
              <a:rPr lang="en-US" sz="1400" dirty="0" err="1">
                <a:latin typeface="Arial"/>
                <a:cs typeface="Arial"/>
              </a:rPr>
              <a:t>nanoscale</a:t>
            </a:r>
            <a:r>
              <a:rPr lang="en-US" sz="1400" dirty="0">
                <a:latin typeface="Arial"/>
                <a:cs typeface="Arial"/>
              </a:rPr>
              <a:t> science, engineering, and technology to serve the public good through a program of coordinated research and development aligned with the missions of the participating agencies. 		</a:t>
            </a:r>
            <a:r>
              <a:rPr lang="en-US" sz="1400" dirty="0">
                <a:solidFill>
                  <a:srgbClr val="000000"/>
                </a:solidFill>
                <a:latin typeface="Arial"/>
                <a:cs typeface="Arial"/>
                <a:hlinkClick r:id="rId3"/>
              </a:rPr>
              <a:t>Advance</a:t>
            </a:r>
            <a:r>
              <a:rPr lang="en-US" sz="1400" dirty="0">
                <a:latin typeface="Arial"/>
                <a:cs typeface="Arial"/>
                <a:hlinkClick r:id="rId3"/>
              </a:rPr>
              <a:t> a world-class nanotechnology research and development program;</a:t>
            </a:r>
          </a:p>
          <a:p>
            <a:r>
              <a:rPr lang="en-US" sz="1400" dirty="0">
                <a:latin typeface="Arial"/>
                <a:cs typeface="Arial"/>
              </a:rPr>
              <a:t>		</a:t>
            </a:r>
            <a:r>
              <a:rPr lang="en-US" sz="1400" dirty="0">
                <a:latin typeface="Arial"/>
                <a:cs typeface="Arial"/>
                <a:hlinkClick r:id="rId4"/>
              </a:rPr>
              <a:t>Foster the transfer of new technologies into products for commercial and public benefit;</a:t>
            </a:r>
          </a:p>
          <a:p>
            <a:r>
              <a:rPr lang="en-US" sz="1400" dirty="0">
                <a:latin typeface="Arial"/>
                <a:cs typeface="Arial"/>
              </a:rPr>
              <a:t>		</a:t>
            </a:r>
            <a:r>
              <a:rPr lang="en-US" sz="1400" dirty="0">
                <a:latin typeface="Arial"/>
                <a:cs typeface="Arial"/>
                <a:hlinkClick r:id="rId5"/>
              </a:rPr>
              <a:t>Develop and sustain educational resources, a skilled workforce, and a dynamic infrastructure and toolset to advance nanotechnology; and</a:t>
            </a:r>
          </a:p>
          <a:p>
            <a:r>
              <a:rPr lang="en-US" sz="1400" dirty="0">
                <a:latin typeface="Arial"/>
                <a:cs typeface="Arial"/>
              </a:rPr>
              <a:t>		</a:t>
            </a:r>
            <a:r>
              <a:rPr lang="en-US" sz="1400" dirty="0">
                <a:latin typeface="Arial"/>
                <a:cs typeface="Arial"/>
                <a:hlinkClick r:id="rId6"/>
              </a:rPr>
              <a:t>Support responsible development of nanotechnology.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99500" y="6547771"/>
            <a:ext cx="327481" cy="310229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z="1000" smtClean="0">
                <a:latin typeface="Arial"/>
                <a:cs typeface="Arial"/>
              </a:rPr>
              <a:pPr/>
              <a:t>20</a:t>
            </a:fld>
            <a:endParaRPr lang="en-US" sz="1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32262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erials Strategy </a:t>
            </a:r>
            <a:br>
              <a:rPr lang="en-US" dirty="0" smtClean="0"/>
            </a:br>
            <a:r>
              <a:rPr lang="en-US" i="1" dirty="0" smtClean="0">
                <a:solidFill>
                  <a:schemeClr val="bg2">
                    <a:lumMod val="90000"/>
                  </a:schemeClr>
                </a:solidFill>
              </a:rPr>
              <a:t>Driven by </a:t>
            </a:r>
            <a:r>
              <a:rPr lang="en-US" i="1" dirty="0" err="1" smtClean="0">
                <a:solidFill>
                  <a:schemeClr val="bg2">
                    <a:lumMod val="90000"/>
                  </a:schemeClr>
                </a:solidFill>
              </a:rPr>
              <a:t>BlueSky</a:t>
            </a:r>
            <a:r>
              <a:rPr lang="en-US" i="1" dirty="0" smtClean="0">
                <a:solidFill>
                  <a:schemeClr val="bg2">
                    <a:lumMod val="90000"/>
                  </a:schemeClr>
                </a:solidFill>
              </a:rPr>
              <a:t> Thinking</a:t>
            </a:r>
            <a:endParaRPr lang="en-US" i="1" dirty="0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b="0" dirty="0"/>
              <a:t> </a:t>
            </a:r>
            <a:r>
              <a:rPr lang="en-US" dirty="0" smtClean="0"/>
              <a:t>Keen awareness of OGA investments and NASA needs.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13" y="1930944"/>
            <a:ext cx="2272250" cy="2286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4134" y="2020227"/>
            <a:ext cx="2286000" cy="2286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20870" r="23044"/>
          <a:stretch/>
        </p:blipFill>
        <p:spPr>
          <a:xfrm>
            <a:off x="100171" y="4515345"/>
            <a:ext cx="2202995" cy="20351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2756" y="4748428"/>
            <a:ext cx="3046428" cy="15616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9278" y="2738578"/>
            <a:ext cx="3474722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8396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21548"/>
          <a:stretch/>
        </p:blipFill>
        <p:spPr>
          <a:xfrm>
            <a:off x="0" y="1308416"/>
            <a:ext cx="9144000" cy="504398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068733" y="-78564"/>
            <a:ext cx="9886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ay 1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0297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6467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y 2 Agenda</a:t>
            </a:r>
            <a:br>
              <a:rPr lang="en-US" dirty="0" smtClean="0"/>
            </a:br>
            <a:r>
              <a:rPr lang="en-US" dirty="0" smtClean="0"/>
              <a:t>June 22, 2016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6044"/>
          <a:stretch/>
        </p:blipFill>
        <p:spPr>
          <a:xfrm>
            <a:off x="0" y="1680426"/>
            <a:ext cx="9144000" cy="4640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4805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8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8" descr="NASA insignia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8638" y="182563"/>
            <a:ext cx="803275" cy="6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>
          <a:xfrm rot="16200000" flipH="1">
            <a:off x="7739063" y="538163"/>
            <a:ext cx="560387" cy="1587"/>
          </a:xfrm>
          <a:prstGeom prst="line">
            <a:avLst/>
          </a:prstGeom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17" name="TextBox 11"/>
          <p:cNvSpPr txBox="1">
            <a:spLocks noChangeArrowheads="1"/>
          </p:cNvSpPr>
          <p:nvPr/>
        </p:nvSpPr>
        <p:spPr bwMode="auto">
          <a:xfrm>
            <a:off x="6469063" y="338138"/>
            <a:ext cx="1473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prstClr val="white"/>
                </a:solidFill>
                <a:cs typeface="Arial" pitchFamily="34" charset="0"/>
              </a:rPr>
              <a:t>National Aeronautics and</a:t>
            </a:r>
          </a:p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900" dirty="0" smtClean="0">
                <a:solidFill>
                  <a:prstClr val="white"/>
                </a:solidFill>
                <a:cs typeface="Arial" pitchFamily="34" charset="0"/>
              </a:rPr>
              <a:t>Space Administration</a:t>
            </a:r>
          </a:p>
        </p:txBody>
      </p:sp>
      <p:sp>
        <p:nvSpPr>
          <p:cNvPr id="13318" name="TextBox 12"/>
          <p:cNvSpPr txBox="1">
            <a:spLocks noChangeArrowheads="1"/>
          </p:cNvSpPr>
          <p:nvPr/>
        </p:nvSpPr>
        <p:spPr bwMode="auto">
          <a:xfrm>
            <a:off x="4724400" y="1981200"/>
            <a:ext cx="4377377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i="1" dirty="0" smtClean="0">
                <a:solidFill>
                  <a:schemeClr val="bg1"/>
                </a:solidFill>
              </a:rPr>
              <a:t>Space Technology Mission Directorate </a:t>
            </a: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dirty="0" smtClean="0">
              <a:solidFill>
                <a:schemeClr val="bg1"/>
              </a:solidFill>
            </a:endParaRP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chemeClr val="bg1"/>
                </a:solidFill>
                <a:latin typeface="Arial"/>
                <a:cs typeface="Arial"/>
              </a:rPr>
              <a:t>Lightweight Materials, Structures, &amp; Advanced Manufacturing</a:t>
            </a: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600" b="1" dirty="0" smtClean="0">
              <a:solidFill>
                <a:prstClr val="white"/>
              </a:solidFill>
              <a:cs typeface="Arial" pitchFamily="34" charset="0"/>
            </a:endParaRP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white"/>
                </a:solidFill>
                <a:cs typeface="Arial" pitchFamily="34" charset="0"/>
              </a:rPr>
              <a:t>Keith Belvin and John Vickers</a:t>
            </a: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white"/>
                </a:solidFill>
                <a:cs typeface="Arial" pitchFamily="34" charset="0"/>
              </a:rPr>
              <a:t>Principal Technologists </a:t>
            </a: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7790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49" name="Picture 6" descr="thrust_v2-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175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0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8350" y="136525"/>
            <a:ext cx="641350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1" name="Rectangle 5"/>
          <p:cNvSpPr>
            <a:spLocks noChangeArrowheads="1"/>
          </p:cNvSpPr>
          <p:nvPr/>
        </p:nvSpPr>
        <p:spPr bwMode="auto">
          <a:xfrm>
            <a:off x="3478213" y="3148013"/>
            <a:ext cx="1136650" cy="248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Permits more </a:t>
            </a:r>
          </a:p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capable science </a:t>
            </a:r>
            <a:br>
              <a:rPr lang="en-US" sz="900" dirty="0">
                <a:solidFill>
                  <a:srgbClr val="000000"/>
                </a:solidFill>
                <a:latin typeface="Arial Narrow" charset="0"/>
              </a:rPr>
            </a:br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and future human missions to terrestrial bodies. Includes, hypersonic and supersonic aerodynamic decelerators, next- </a:t>
            </a:r>
          </a:p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gen TPS materials, </a:t>
            </a:r>
            <a:br>
              <a:rPr lang="en-US" sz="900" dirty="0">
                <a:solidFill>
                  <a:srgbClr val="000000"/>
                </a:solidFill>
                <a:latin typeface="Arial Narrow" charset="0"/>
              </a:rPr>
            </a:br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retro-propulsion, instrumentation </a:t>
            </a:r>
          </a:p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and modeling.</a:t>
            </a:r>
          </a:p>
          <a:p>
            <a:pPr defTabSz="455613">
              <a:spcBef>
                <a:spcPts val="300"/>
              </a:spcBef>
            </a:pPr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</a:t>
            </a:r>
            <a:endParaRPr lang="en-US" sz="900" b="1" dirty="0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Returning commercial assets from space and research from ISS</a:t>
            </a:r>
          </a:p>
        </p:txBody>
      </p:sp>
      <p:sp>
        <p:nvSpPr>
          <p:cNvPr id="78852" name="Rectangle 7"/>
          <p:cNvSpPr>
            <a:spLocks noChangeArrowheads="1"/>
          </p:cNvSpPr>
          <p:nvPr/>
        </p:nvSpPr>
        <p:spPr bwMode="auto">
          <a:xfrm>
            <a:off x="2362200" y="3152775"/>
            <a:ext cx="1131888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Human exploration missions beyond low earth orbit will require highly reliable technologies (e.g. reclaiming water</a:t>
            </a:r>
            <a:br>
              <a:rPr lang="en-US" sz="900" dirty="0">
                <a:solidFill>
                  <a:srgbClr val="000000"/>
                </a:solidFill>
                <a:latin typeface="Arial Narrow" charset="0"/>
              </a:rPr>
            </a:br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reuse of trash, air revitalization)  to minimize resupply requirements and increase independence from earth.</a:t>
            </a:r>
          </a:p>
          <a:p>
            <a:pPr defTabSz="455613"/>
            <a:endParaRPr lang="en-US" sz="500" b="1" dirty="0">
              <a:solidFill>
                <a:srgbClr val="000000"/>
              </a:solidFill>
              <a:latin typeface="Arial Narrow" charset="0"/>
            </a:endParaRPr>
          </a:p>
          <a:p>
            <a:pPr defTabSz="455613"/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</a:t>
            </a:r>
            <a:r>
              <a:rPr lang="en-US" sz="900" b="1" dirty="0">
                <a:solidFill>
                  <a:srgbClr val="C00000"/>
                </a:solidFill>
                <a:latin typeface="Arial Narrow" charset="0"/>
              </a:rPr>
              <a:t>:</a:t>
            </a: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Mining Industry and other closed environments; OGA</a:t>
            </a:r>
          </a:p>
        </p:txBody>
      </p:sp>
      <p:sp>
        <p:nvSpPr>
          <p:cNvPr id="78853" name="Rectangle 8"/>
          <p:cNvSpPr>
            <a:spLocks noChangeArrowheads="1"/>
          </p:cNvSpPr>
          <p:nvPr/>
        </p:nvSpPr>
        <p:spPr bwMode="auto">
          <a:xfrm>
            <a:off x="1244600" y="3152775"/>
            <a:ext cx="1054100" cy="258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Substantially increase available bandwidth and data rates for near earth and deep space, currently limited by power and frequency allocation limits. Assure robust and reliable interconnected space network.</a:t>
            </a:r>
          </a:p>
          <a:p>
            <a:pPr defTabSz="455613"/>
            <a:r>
              <a:rPr lang="en-US" sz="800" dirty="0">
                <a:solidFill>
                  <a:srgbClr val="000000"/>
                </a:solidFill>
                <a:latin typeface="Arial Narrow" charset="0"/>
              </a:rPr>
              <a:t/>
            </a:r>
            <a:br>
              <a:rPr lang="en-US" sz="800" dirty="0">
                <a:solidFill>
                  <a:srgbClr val="000000"/>
                </a:solidFill>
                <a:latin typeface="Arial Narrow" charset="0"/>
              </a:rPr>
            </a:br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 </a:t>
            </a:r>
            <a:r>
              <a:rPr lang="en-US" sz="900" b="1" dirty="0">
                <a:solidFill>
                  <a:srgbClr val="C00000"/>
                </a:solidFill>
                <a:latin typeface="Arial Narrow" charset="0"/>
              </a:rPr>
              <a:t> </a:t>
            </a: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High bandwidth for Commercial and OGA Satellites </a:t>
            </a:r>
          </a:p>
        </p:txBody>
      </p:sp>
      <p:sp>
        <p:nvSpPr>
          <p:cNvPr id="78854" name="Rectangle 9"/>
          <p:cNvSpPr>
            <a:spLocks noChangeArrowheads="1"/>
          </p:cNvSpPr>
          <p:nvPr/>
        </p:nvSpPr>
        <p:spPr bwMode="auto">
          <a:xfrm>
            <a:off x="104775" y="3167063"/>
            <a:ext cx="1123950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>
              <a:spcBef>
                <a:spcPts val="300"/>
              </a:spcBef>
            </a:pPr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Create improvements in thrust levels, specific power, and alternatives to traditional chemical propulsion systems for destination-agnostic, deep space exploration spacecraft systems. </a:t>
            </a:r>
          </a:p>
          <a:p>
            <a:pPr defTabSz="455613">
              <a:spcBef>
                <a:spcPts val="300"/>
              </a:spcBef>
            </a:pPr>
            <a:endParaRPr lang="en-US" sz="900" dirty="0">
              <a:solidFill>
                <a:srgbClr val="000000"/>
              </a:solidFill>
              <a:latin typeface="Arial Narrow" charset="0"/>
            </a:endParaRPr>
          </a:p>
          <a:p>
            <a:pPr defTabSz="455613">
              <a:spcBef>
                <a:spcPts val="300"/>
              </a:spcBef>
            </a:pPr>
            <a:endParaRPr lang="en-US" sz="900" dirty="0">
              <a:solidFill>
                <a:srgbClr val="000000"/>
              </a:solidFill>
              <a:latin typeface="Arial Narrow" charset="0"/>
            </a:endParaRPr>
          </a:p>
          <a:p>
            <a:pPr defTabSz="455613">
              <a:spcBef>
                <a:spcPts val="300"/>
              </a:spcBef>
            </a:pPr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 </a:t>
            </a:r>
            <a:r>
              <a:rPr lang="en-US" sz="900" i="1" dirty="0">
                <a:solidFill>
                  <a:srgbClr val="C00000"/>
                </a:solidFill>
                <a:latin typeface="Arial Narrow" charset="0"/>
              </a:rPr>
              <a:t>Enhanced</a:t>
            </a:r>
            <a:r>
              <a:rPr lang="en-US" sz="900" i="1" u="sng" dirty="0">
                <a:solidFill>
                  <a:srgbClr val="C00000"/>
                </a:solidFill>
                <a:latin typeface="Arial Narrow" charset="0"/>
              </a:rPr>
              <a:t> </a:t>
            </a:r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propulsion capabilities for Commercial and OGA Satellites</a:t>
            </a:r>
          </a:p>
        </p:txBody>
      </p:sp>
      <p:sp>
        <p:nvSpPr>
          <p:cNvPr id="78855" name="Rectangle 10"/>
          <p:cNvSpPr>
            <a:spLocks noChangeArrowheads="1"/>
          </p:cNvSpPr>
          <p:nvPr/>
        </p:nvSpPr>
        <p:spPr bwMode="auto">
          <a:xfrm>
            <a:off x="6904038" y="3135313"/>
            <a:ext cx="1022350" cy="255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Allows for more capable science and human exploration missions; enables more precise entry trajectories for inserting into orbits around planets and bodies like Mars, Europa, and Titan.</a:t>
            </a:r>
          </a:p>
          <a:p>
            <a:pPr defTabSz="455613"/>
            <a:r>
              <a:rPr lang="en-US" sz="900" b="1" dirty="0">
                <a:solidFill>
                  <a:srgbClr val="C00000"/>
                </a:solidFill>
                <a:latin typeface="Arial Narrow" charset="0"/>
              </a:rPr>
              <a:t/>
            </a:r>
            <a:br>
              <a:rPr lang="en-US" sz="900" b="1" dirty="0">
                <a:solidFill>
                  <a:srgbClr val="C00000"/>
                </a:solidFill>
                <a:latin typeface="Arial Narrow" charset="0"/>
              </a:rPr>
            </a:br>
            <a:endParaRPr lang="en-US" sz="700" b="1" i="1" u="sng" dirty="0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 </a:t>
            </a:r>
            <a:endParaRPr lang="en-US" sz="900" b="1" dirty="0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Next Generation GPS and build new industrial base</a:t>
            </a:r>
          </a:p>
        </p:txBody>
      </p:sp>
      <p:sp>
        <p:nvSpPr>
          <p:cNvPr id="78856" name="Rectangle 11"/>
          <p:cNvSpPr>
            <a:spLocks noChangeArrowheads="1"/>
          </p:cNvSpPr>
          <p:nvPr/>
        </p:nvSpPr>
        <p:spPr bwMode="auto">
          <a:xfrm>
            <a:off x="5734050" y="3130550"/>
            <a:ext cx="1135063" cy="248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Targets large decreases in</a:t>
            </a:r>
            <a:br>
              <a:rPr lang="en-US" sz="900" dirty="0">
                <a:solidFill>
                  <a:srgbClr val="000000"/>
                </a:solidFill>
                <a:latin typeface="Arial Narrow" charset="0"/>
              </a:rPr>
            </a:br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structural mass for launch vehicles and spacecraft materials using nanotech, composites and in space manufacturing capabilities.</a:t>
            </a:r>
          </a:p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/>
            </a:r>
            <a:br>
              <a:rPr lang="en-US" sz="900" dirty="0">
                <a:solidFill>
                  <a:srgbClr val="000000"/>
                </a:solidFill>
                <a:latin typeface="Arial Narrow" charset="0"/>
              </a:rPr>
            </a:br>
            <a:endParaRPr lang="en-US" sz="900" dirty="0">
              <a:solidFill>
                <a:srgbClr val="000000"/>
              </a:solidFill>
              <a:latin typeface="Arial Narrow" charset="0"/>
            </a:endParaRPr>
          </a:p>
          <a:p>
            <a:pPr defTabSz="455613"/>
            <a:endParaRPr lang="en-US" sz="900" dirty="0">
              <a:solidFill>
                <a:srgbClr val="000000"/>
              </a:solidFill>
              <a:latin typeface="Arial Narrow" charset="0"/>
            </a:endParaRPr>
          </a:p>
          <a:p>
            <a:pPr defTabSz="455613">
              <a:spcBef>
                <a:spcPts val="300"/>
              </a:spcBef>
            </a:pPr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 </a:t>
            </a:r>
            <a:endParaRPr lang="en-US" sz="900" b="1" dirty="0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Industrial Materials and Composites for large structures (rockets, aircraft)</a:t>
            </a:r>
          </a:p>
        </p:txBody>
      </p:sp>
      <p:sp>
        <p:nvSpPr>
          <p:cNvPr id="78857" name="Rectangle 12"/>
          <p:cNvSpPr>
            <a:spLocks noChangeArrowheads="1"/>
          </p:cNvSpPr>
          <p:nvPr/>
        </p:nvSpPr>
        <p:spPr bwMode="auto">
          <a:xfrm>
            <a:off x="4602163" y="3144838"/>
            <a:ext cx="1131887" cy="253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Extends our reach by helping us remotely explore planetary bodies, manage in-space assets and support in-space operations by enhancing the efficacy of our operations.  </a:t>
            </a:r>
          </a:p>
          <a:p>
            <a:pPr defTabSz="455613"/>
            <a:endParaRPr lang="en-US" sz="600" b="1" i="1" u="sng" dirty="0">
              <a:solidFill>
                <a:srgbClr val="000000"/>
              </a:solidFill>
              <a:latin typeface="Arial Narrow" charset="0"/>
            </a:endParaRPr>
          </a:p>
          <a:p>
            <a:pPr defTabSz="455613"/>
            <a:r>
              <a:rPr lang="en-US" sz="600" b="1" i="1" u="sng" dirty="0">
                <a:solidFill>
                  <a:srgbClr val="000000"/>
                </a:solidFill>
                <a:latin typeface="Arial Narrow" charset="0"/>
              </a:rPr>
              <a:t/>
            </a:r>
            <a:br>
              <a:rPr lang="en-US" sz="600" b="1" i="1" u="sng" dirty="0">
                <a:solidFill>
                  <a:srgbClr val="000000"/>
                </a:solidFill>
                <a:latin typeface="Arial Narrow" charset="0"/>
              </a:rPr>
            </a:br>
            <a:endParaRPr lang="en-US" sz="600" b="1" i="1" u="sng" dirty="0">
              <a:solidFill>
                <a:srgbClr val="000000"/>
              </a:solidFill>
              <a:latin typeface="Arial Narrow" charset="0"/>
            </a:endParaRPr>
          </a:p>
          <a:p>
            <a:pPr defTabSz="455613"/>
            <a:endParaRPr lang="en-US" sz="600" b="1" i="1" u="sng" dirty="0">
              <a:solidFill>
                <a:srgbClr val="000000"/>
              </a:solidFill>
              <a:latin typeface="Arial Narrow" charset="0"/>
            </a:endParaRPr>
          </a:p>
          <a:p>
            <a:pPr defTabSz="455613"/>
            <a:r>
              <a:rPr lang="en-US" sz="900" b="1" i="1" u="sng" dirty="0">
                <a:solidFill>
                  <a:srgbClr val="C00000"/>
                </a:solidFill>
                <a:latin typeface="Arial Narrow" charset="0"/>
              </a:rPr>
              <a:t>External Application: </a:t>
            </a:r>
            <a:endParaRPr lang="en-US" sz="900" b="1" dirty="0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 dirty="0">
                <a:solidFill>
                  <a:srgbClr val="C00000"/>
                </a:solidFill>
                <a:latin typeface="Arial Narrow" charset="0"/>
              </a:rPr>
              <a:t>Human-safe Robotics for industrial use, disaster response, &amp; overall autonomous operations</a:t>
            </a:r>
          </a:p>
        </p:txBody>
      </p:sp>
      <p:sp>
        <p:nvSpPr>
          <p:cNvPr id="78858" name="Rectangle 13"/>
          <p:cNvSpPr>
            <a:spLocks noChangeArrowheads="1"/>
          </p:cNvSpPr>
          <p:nvPr/>
        </p:nvSpPr>
        <p:spPr bwMode="auto">
          <a:xfrm>
            <a:off x="8001000" y="3132138"/>
            <a:ext cx="1143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5613"/>
            <a:r>
              <a:rPr lang="en-US" sz="900" dirty="0">
                <a:solidFill>
                  <a:srgbClr val="000000"/>
                </a:solidFill>
                <a:latin typeface="Arial Narrow" charset="0"/>
              </a:rPr>
              <a:t>Allows for significant gains in science capabilities including:  coronagraph technology to characterize </a:t>
            </a:r>
            <a:r>
              <a:rPr lang="en-US" sz="900" dirty="0" err="1">
                <a:solidFill>
                  <a:srgbClr val="000000"/>
                </a:solidFill>
                <a:latin typeface="Arial Narrow" charset="0"/>
              </a:rPr>
              <a:t>exo</a:t>
            </a:r>
            <a:r>
              <a:rPr lang="en-US" sz="900">
                <a:solidFill>
                  <a:srgbClr val="000000"/>
                </a:solidFill>
                <a:latin typeface="Arial Narrow" charset="0"/>
              </a:rPr>
              <a:t>-planets, advances in surface materials and better control systems for large space optics.</a:t>
            </a:r>
          </a:p>
          <a:p>
            <a:pPr defTabSz="455613"/>
            <a:endParaRPr lang="en-US" sz="900" b="1" i="1" u="sng">
              <a:solidFill>
                <a:srgbClr val="000000"/>
              </a:solidFill>
              <a:latin typeface="Arial Narrow" charset="0"/>
            </a:endParaRPr>
          </a:p>
          <a:p>
            <a:pPr defTabSz="455613"/>
            <a:endParaRPr lang="en-US" sz="900" b="1" i="1" u="sng">
              <a:solidFill>
                <a:srgbClr val="000000"/>
              </a:solidFill>
              <a:latin typeface="Arial Narrow" charset="0"/>
            </a:endParaRPr>
          </a:p>
          <a:p>
            <a:pPr defTabSz="455613"/>
            <a:endParaRPr lang="en-US" sz="900" b="1" i="1" u="sng">
              <a:solidFill>
                <a:srgbClr val="000000"/>
              </a:solidFill>
              <a:latin typeface="Arial Narrow" charset="0"/>
            </a:endParaRPr>
          </a:p>
          <a:p>
            <a:pPr defTabSz="455613"/>
            <a:endParaRPr lang="en-US" sz="900" b="1" i="1" u="sng">
              <a:solidFill>
                <a:srgbClr val="000000"/>
              </a:solidFill>
              <a:latin typeface="Arial Narrow" charset="0"/>
            </a:endParaRPr>
          </a:p>
          <a:p>
            <a:pPr defTabSz="455613"/>
            <a:r>
              <a:rPr lang="en-US" sz="900" b="1" i="1" u="sng">
                <a:solidFill>
                  <a:srgbClr val="C00000"/>
                </a:solidFill>
                <a:latin typeface="Arial Narrow" charset="0"/>
              </a:rPr>
              <a:t>External Application: </a:t>
            </a:r>
            <a:endParaRPr lang="en-US" sz="900" b="1">
              <a:solidFill>
                <a:srgbClr val="C00000"/>
              </a:solidFill>
              <a:latin typeface="Arial Narrow" charset="0"/>
            </a:endParaRPr>
          </a:p>
          <a:p>
            <a:pPr defTabSz="455613"/>
            <a:r>
              <a:rPr lang="en-US" sz="900">
                <a:solidFill>
                  <a:srgbClr val="C00000"/>
                </a:solidFill>
                <a:latin typeface="Arial Narrow" charset="0"/>
              </a:rPr>
              <a:t>Industrial Materials, Earth Observation</a:t>
            </a:r>
          </a:p>
          <a:p>
            <a:pPr defTabSz="455613"/>
            <a:endParaRPr lang="en-US" sz="900" b="1">
              <a:solidFill>
                <a:srgbClr val="215968"/>
              </a:solidFill>
              <a:latin typeface="Arial Narrow" charset="0"/>
            </a:endParaRPr>
          </a:p>
        </p:txBody>
      </p:sp>
      <p:sp>
        <p:nvSpPr>
          <p:cNvPr id="78859" name="TextBox 14"/>
          <p:cNvSpPr txBox="1">
            <a:spLocks noChangeArrowheads="1"/>
          </p:cNvSpPr>
          <p:nvPr/>
        </p:nvSpPr>
        <p:spPr bwMode="auto">
          <a:xfrm>
            <a:off x="107950" y="2430463"/>
            <a:ext cx="104298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 dirty="0" smtClean="0">
                <a:solidFill>
                  <a:srgbClr val="31859C"/>
                </a:solidFill>
              </a:rPr>
              <a:t> </a:t>
            </a:r>
            <a:r>
              <a:rPr lang="en-US" sz="1100" b="1" dirty="0">
                <a:solidFill>
                  <a:srgbClr val="31859C"/>
                </a:solidFill>
              </a:rPr>
              <a:t/>
            </a:r>
            <a:br>
              <a:rPr lang="en-US" sz="1100" b="1" dirty="0">
                <a:solidFill>
                  <a:srgbClr val="31859C"/>
                </a:solidFill>
              </a:rPr>
            </a:br>
            <a:r>
              <a:rPr lang="en-US" sz="1100" b="1" dirty="0" smtClean="0">
                <a:solidFill>
                  <a:srgbClr val="31859C"/>
                </a:solidFill>
              </a:rPr>
              <a:t>In- Space </a:t>
            </a:r>
            <a:r>
              <a:rPr lang="en-US" sz="1100" b="1" dirty="0">
                <a:solidFill>
                  <a:srgbClr val="31859C"/>
                </a:solidFill>
              </a:rPr>
              <a:t>Propulsion</a:t>
            </a:r>
          </a:p>
        </p:txBody>
      </p:sp>
      <p:sp>
        <p:nvSpPr>
          <p:cNvPr id="78860" name="TextBox 15"/>
          <p:cNvSpPr txBox="1">
            <a:spLocks noChangeArrowheads="1"/>
          </p:cNvSpPr>
          <p:nvPr/>
        </p:nvSpPr>
        <p:spPr bwMode="auto">
          <a:xfrm>
            <a:off x="1216025" y="2544674"/>
            <a:ext cx="1133475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 dirty="0">
                <a:solidFill>
                  <a:srgbClr val="31859C"/>
                </a:solidFill>
              </a:rPr>
              <a:t>High Bandwidth </a:t>
            </a:r>
            <a:r>
              <a:rPr lang="en-US" sz="1100" b="1" dirty="0" smtClean="0">
                <a:solidFill>
                  <a:srgbClr val="31859C"/>
                </a:solidFill>
              </a:rPr>
              <a:t>Space </a:t>
            </a:r>
            <a:r>
              <a:rPr lang="en-US" sz="1100" b="1" dirty="0" err="1" smtClean="0">
                <a:solidFill>
                  <a:srgbClr val="31859C"/>
                </a:solidFill>
              </a:rPr>
              <a:t>Comm</a:t>
            </a:r>
            <a:endParaRPr lang="en-US" sz="1100" b="1" dirty="0">
              <a:solidFill>
                <a:srgbClr val="31859C"/>
              </a:solidFill>
            </a:endParaRPr>
          </a:p>
        </p:txBody>
      </p:sp>
      <p:sp>
        <p:nvSpPr>
          <p:cNvPr id="78861" name="TextBox 16"/>
          <p:cNvSpPr txBox="1">
            <a:spLocks noChangeArrowheads="1"/>
          </p:cNvSpPr>
          <p:nvPr/>
        </p:nvSpPr>
        <p:spPr bwMode="auto">
          <a:xfrm>
            <a:off x="2395538" y="2430463"/>
            <a:ext cx="1022350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>
                <a:solidFill>
                  <a:srgbClr val="31859C"/>
                </a:solidFill>
              </a:rPr>
              <a:t>Advanced Life Support &amp; Resource Utilization</a:t>
            </a:r>
          </a:p>
        </p:txBody>
      </p:sp>
      <p:sp>
        <p:nvSpPr>
          <p:cNvPr id="78862" name="TextBox 17"/>
          <p:cNvSpPr txBox="1">
            <a:spLocks noChangeArrowheads="1"/>
          </p:cNvSpPr>
          <p:nvPr/>
        </p:nvSpPr>
        <p:spPr bwMode="auto">
          <a:xfrm>
            <a:off x="3509963" y="2430463"/>
            <a:ext cx="1022350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>
                <a:solidFill>
                  <a:srgbClr val="31859C"/>
                </a:solidFill>
              </a:rPr>
              <a:t>Entry Descent and Landing Systems</a:t>
            </a:r>
          </a:p>
        </p:txBody>
      </p:sp>
      <p:sp>
        <p:nvSpPr>
          <p:cNvPr id="78863" name="TextBox 18"/>
          <p:cNvSpPr txBox="1">
            <a:spLocks noChangeArrowheads="1"/>
          </p:cNvSpPr>
          <p:nvPr/>
        </p:nvSpPr>
        <p:spPr bwMode="auto">
          <a:xfrm>
            <a:off x="4664075" y="2590800"/>
            <a:ext cx="1020763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>
                <a:solidFill>
                  <a:srgbClr val="31859C"/>
                </a:solidFill>
              </a:rPr>
              <a:t>Space Robotic Systems</a:t>
            </a:r>
          </a:p>
        </p:txBody>
      </p:sp>
      <p:sp>
        <p:nvSpPr>
          <p:cNvPr id="78864" name="TextBox 19"/>
          <p:cNvSpPr txBox="1">
            <a:spLocks noChangeArrowheads="1"/>
          </p:cNvSpPr>
          <p:nvPr/>
        </p:nvSpPr>
        <p:spPr bwMode="auto">
          <a:xfrm>
            <a:off x="5753100" y="2600325"/>
            <a:ext cx="1022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 dirty="0">
                <a:solidFill>
                  <a:srgbClr val="31859C"/>
                </a:solidFill>
              </a:rPr>
              <a:t>Lightweight Space Structures</a:t>
            </a:r>
          </a:p>
        </p:txBody>
      </p:sp>
      <p:sp>
        <p:nvSpPr>
          <p:cNvPr id="78865" name="TextBox 20"/>
          <p:cNvSpPr txBox="1">
            <a:spLocks noChangeArrowheads="1"/>
          </p:cNvSpPr>
          <p:nvPr/>
        </p:nvSpPr>
        <p:spPr bwMode="auto">
          <a:xfrm>
            <a:off x="6904038" y="2770188"/>
            <a:ext cx="102235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>
                <a:solidFill>
                  <a:srgbClr val="31859C"/>
                </a:solidFill>
              </a:rPr>
              <a:t>Deep Space Navigation</a:t>
            </a:r>
          </a:p>
        </p:txBody>
      </p:sp>
      <p:sp>
        <p:nvSpPr>
          <p:cNvPr id="78866" name="TextBox 21"/>
          <p:cNvSpPr txBox="1">
            <a:spLocks noChangeArrowheads="1"/>
          </p:cNvSpPr>
          <p:nvPr/>
        </p:nvSpPr>
        <p:spPr bwMode="auto">
          <a:xfrm>
            <a:off x="8032750" y="2601913"/>
            <a:ext cx="10223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100" b="1">
                <a:solidFill>
                  <a:srgbClr val="31859C"/>
                </a:solidFill>
              </a:rPr>
              <a:t>Space Observatory Systems</a:t>
            </a:r>
          </a:p>
        </p:txBody>
      </p:sp>
      <p:sp>
        <p:nvSpPr>
          <p:cNvPr id="78867" name="TextBox 22"/>
          <p:cNvSpPr txBox="1">
            <a:spLocks noChangeArrowheads="1"/>
          </p:cNvSpPr>
          <p:nvPr/>
        </p:nvSpPr>
        <p:spPr bwMode="auto">
          <a:xfrm>
            <a:off x="0" y="828675"/>
            <a:ext cx="91440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1200" b="1" i="1">
                <a:solidFill>
                  <a:srgbClr val="31859C"/>
                </a:solidFill>
              </a:rPr>
              <a:t>Space Technology focus investments in 8 thrust areas that are key to </a:t>
            </a:r>
            <a:br>
              <a:rPr lang="en-US" sz="1200" b="1" i="1">
                <a:solidFill>
                  <a:srgbClr val="31859C"/>
                </a:solidFill>
              </a:rPr>
            </a:br>
            <a:r>
              <a:rPr lang="en-US" sz="1200" b="1" i="1">
                <a:solidFill>
                  <a:srgbClr val="31859C"/>
                </a:solidFill>
              </a:rPr>
              <a:t>future NASA missions and enhance national space capabilities.</a:t>
            </a:r>
          </a:p>
        </p:txBody>
      </p:sp>
      <p:pic>
        <p:nvPicPr>
          <p:cNvPr id="78868" name="Picture 2" descr="Banner OCT template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75"/>
            <a:ext cx="91440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69" name="TextBox 1"/>
          <p:cNvSpPr txBox="1">
            <a:spLocks noChangeArrowheads="1"/>
          </p:cNvSpPr>
          <p:nvPr/>
        </p:nvSpPr>
        <p:spPr bwMode="auto">
          <a:xfrm>
            <a:off x="1549400" y="184150"/>
            <a:ext cx="59864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28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28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28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2813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b="1" dirty="0">
                <a:solidFill>
                  <a:srgbClr val="FFFFFF"/>
                </a:solidFill>
                <a:cs typeface="Arial" charset="0"/>
              </a:rPr>
              <a:t>Enabling Future Exploration Missions</a:t>
            </a:r>
          </a:p>
        </p:txBody>
      </p:sp>
      <p:cxnSp>
        <p:nvCxnSpPr>
          <p:cNvPr id="4" name="Straight Connector 3"/>
          <p:cNvCxnSpPr>
            <a:cxnSpLocks noChangeShapeType="1"/>
          </p:cNvCxnSpPr>
          <p:nvPr/>
        </p:nvCxnSpPr>
        <p:spPr bwMode="auto">
          <a:xfrm>
            <a:off x="0" y="822325"/>
            <a:ext cx="9144000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8871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010400" y="6570663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9DE975C-060E-D344-96EB-05254B0D72CB}" type="slidenum">
              <a:rPr lang="en-US" sz="1000">
                <a:solidFill>
                  <a:srgbClr val="000000"/>
                </a:solidFill>
              </a:rPr>
              <a:pPr/>
              <a:t>5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5716587" y="1290638"/>
            <a:ext cx="1101725" cy="4324349"/>
          </a:xfrm>
          <a:prstGeom prst="roundRect">
            <a:avLst/>
          </a:prstGeom>
          <a:noFill/>
          <a:ln w="28575" cmpd="sng">
            <a:solidFill>
              <a:srgbClr val="FFFF00"/>
            </a:solidFill>
          </a:ln>
          <a:effectLst>
            <a:glow rad="50800">
              <a:srgbClr val="FFFF00">
                <a:alpha val="75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630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46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/>
                </a:solidFill>
                <a:ea typeface="ＭＳ Ｐゴシック" pitchFamily="34" charset="-128"/>
              </a:rPr>
              <a:t>1</a:t>
            </a:r>
            <a:endParaRPr lang="en-US" dirty="0" smtClean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8458200" y="6477000"/>
            <a:ext cx="536575" cy="304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91440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2pPr>
            <a:lvl3pPr marL="1143000" indent="-228600" algn="l" defTabSz="91440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3pPr>
            <a:lvl4pPr marL="1600200" indent="-228600" algn="l" defTabSz="91440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4pPr>
            <a:lvl5pPr marL="2057400" indent="-228600" algn="l" defTabSz="914400" rtl="0" eaLnBrk="0" latinLnBrk="0" hangingPunct="0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9pPr>
          </a:lstStyle>
          <a:p>
            <a:fld id="{2FE98A48-07DC-EC49-8FC2-E1540E0EF62F}" type="slidenum">
              <a:rPr lang="en-US" sz="1400" smtClean="0">
                <a:solidFill>
                  <a:srgbClr val="000000"/>
                </a:solidFill>
              </a:rPr>
              <a:pPr/>
              <a:t>6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528638" y="2001838"/>
            <a:ext cx="822325" cy="822325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  <p:txBody>
          <a:bodyPr/>
          <a:lstStyle/>
          <a:p>
            <a:pPr defTabSz="9144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4470400" y="1316038"/>
            <a:ext cx="1371600" cy="13716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  <p:txBody>
          <a:bodyPr/>
          <a:lstStyle/>
          <a:p>
            <a:pPr defTabSz="914400">
              <a:spcBef>
                <a:spcPct val="20000"/>
              </a:spcBef>
              <a:defRPr/>
            </a:pPr>
            <a:endParaRPr lang="en-US" sz="2400">
              <a:solidFill>
                <a:prstClr val="white"/>
              </a:solidFill>
              <a:latin typeface="Helvetica Neue Black Condensed" charset="0"/>
              <a:ea typeface="ＭＳ Ｐゴシック" pitchFamily="-80" charset="-128"/>
              <a:cs typeface="ＭＳ Ｐゴシック" pitchFamily="-80" charset="-128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2" name="Picture 1" descr="pathtomars_text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4881197" y="4311153"/>
              <a:ext cx="1347851" cy="461665"/>
            </a:xfrm>
            <a:prstGeom prst="rect">
              <a:avLst/>
            </a:prstGeom>
            <a:ln>
              <a:solidFill>
                <a:srgbClr val="FFFF00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chemeClr val="tx2">
                      <a:lumMod val="20000"/>
                      <a:lumOff val="80000"/>
                    </a:schemeClr>
                  </a:solidFill>
                  <a:latin typeface="+mn-lt"/>
                </a:rPr>
                <a:t>Lightweight Space Struct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45478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7" y="168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7" y="168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26647"/>
            <a:endParaRPr lang="en-US" sz="10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1752600" y="228600"/>
            <a:ext cx="6532210" cy="693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err="1" smtClean="0"/>
              <a:t>Lightweigth</a:t>
            </a:r>
            <a:r>
              <a:rPr lang="en-US" sz="2400" b="1" dirty="0" smtClean="0"/>
              <a:t> Materials, Structures and Advanced Manufacturing (LMSAM) - Addressing </a:t>
            </a:r>
            <a:r>
              <a:rPr lang="en-US" sz="2400" b="1" dirty="0"/>
              <a:t>Critical Challenges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61984" y="1158614"/>
            <a:ext cx="8839200" cy="646331"/>
          </a:xfrm>
          <a:prstGeom prst="rect">
            <a:avLst/>
          </a:prstGeom>
          <a:solidFill>
            <a:srgbClr val="003366"/>
          </a:solidFill>
        </p:spPr>
        <p:txBody>
          <a:bodyPr wrap="square" rtlCol="0">
            <a:spAutoFit/>
          </a:bodyPr>
          <a:lstStyle/>
          <a:p>
            <a:r>
              <a:rPr lang="en-US" sz="1800" i="1" dirty="0" smtClean="0">
                <a:solidFill>
                  <a:schemeClr val="bg1"/>
                </a:solidFill>
              </a:rPr>
              <a:t>Through the technology strategy approach, each capability area addresses the agency priorities and big challenges only solvable by a comprehensive collaboration</a:t>
            </a:r>
            <a:endParaRPr lang="en-US" sz="1800" i="1" dirty="0">
              <a:solidFill>
                <a:schemeClr val="bg1"/>
              </a:solidFill>
            </a:endParaRP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7633952"/>
              </p:ext>
            </p:extLst>
          </p:nvPr>
        </p:nvGraphicFramePr>
        <p:xfrm>
          <a:off x="313955" y="2204595"/>
          <a:ext cx="8638497" cy="4424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84592" y="2252541"/>
            <a:ext cx="1992008" cy="1938459"/>
          </a:xfrm>
          <a:prstGeom prst="ellipse">
            <a:avLst/>
          </a:prstGeom>
          <a:ln w="12700" cap="rnd" cmpd="sng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0" name="Picture 2" descr="image001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3000" y="4724400"/>
            <a:ext cx="2166112" cy="1981200"/>
          </a:xfrm>
          <a:prstGeom prst="ellipse">
            <a:avLst/>
          </a:prstGeom>
          <a:ln w="12700" cap="rnd" cmpd="sng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28063" y="6356350"/>
            <a:ext cx="412750" cy="365125"/>
          </a:xfrm>
          <a:prstGeom prst="rect">
            <a:avLst/>
          </a:prstGeom>
        </p:spPr>
        <p:txBody>
          <a:bodyPr/>
          <a:lstStyle/>
          <a:p>
            <a:pPr defTabSz="457200">
              <a:defRPr/>
            </a:pPr>
            <a:fld id="{696AC6C9-1F18-BF46-80B7-927FBB4E9507}" type="slidenum">
              <a:rPr lang="en-US" smtClean="0">
                <a:solidFill>
                  <a:prstClr val="black"/>
                </a:solidFill>
                <a:latin typeface="Calibri"/>
              </a:rPr>
              <a:pPr defTabSz="457200">
                <a:defRPr/>
              </a:pPr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605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87" y="168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7" y="168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26647" fontAlgn="auto">
              <a:spcBef>
                <a:spcPts val="0"/>
              </a:spcBef>
              <a:spcAft>
                <a:spcPts val="0"/>
              </a:spcAft>
            </a:pPr>
            <a:endParaRPr lang="en-US" sz="1000" b="1" dirty="0">
              <a:solidFill>
                <a:srgbClr val="000000"/>
              </a:solidFill>
              <a:latin typeface="Calibri"/>
              <a:sym typeface="+mn-lt"/>
            </a:endParaRPr>
          </a:p>
        </p:txBody>
      </p:sp>
      <p:sp>
        <p:nvSpPr>
          <p:cNvPr id="82" name="Title 1"/>
          <p:cNvSpPr txBox="1">
            <a:spLocks/>
          </p:cNvSpPr>
          <p:nvPr/>
        </p:nvSpPr>
        <p:spPr>
          <a:xfrm>
            <a:off x="1752600" y="228600"/>
            <a:ext cx="6532210" cy="693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en-US" sz="2400" b="1" dirty="0" smtClean="0">
                <a:solidFill>
                  <a:prstClr val="white"/>
                </a:solidFill>
                <a:latin typeface="Calibri"/>
              </a:rPr>
              <a:t>LMSAM Capability Areas</a:t>
            </a: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57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5800" y="1905000"/>
            <a:ext cx="1447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Human Rated Composit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5908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24400" y="1752600"/>
            <a:ext cx="1752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</a:t>
            </a:r>
            <a:r>
              <a:rPr lang="en-US" sz="18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functional Material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6482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38400" y="1752600"/>
            <a:ext cx="2286000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 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(ISM) and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n-Space Assembly (ISA)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705600" y="1752600"/>
            <a:ext cx="1905000" cy="1676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781800" y="1828800"/>
            <a:ext cx="1752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tructures and Materials for Extreme </a:t>
            </a:r>
            <a:r>
              <a:rPr lang="en-US" sz="1800" b="1" i="1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Environments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72000" y="1752600"/>
            <a:ext cx="2286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ultifunctional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terials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nufacturing,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i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nd Structures</a:t>
            </a: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800" b="1" i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457200" y="3733800"/>
            <a:ext cx="1905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abitat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ryogenic Tank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Launch Vehicle Dry Structure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Space and Surface Vehicle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Science Platforms </a:t>
            </a:r>
            <a:endParaRPr lang="en-US" sz="1400" i="1" dirty="0"/>
          </a:p>
        </p:txBody>
      </p:sp>
      <p:sp>
        <p:nvSpPr>
          <p:cNvPr id="29" name="TextBox 28"/>
          <p:cNvSpPr txBox="1"/>
          <p:nvPr/>
        </p:nvSpPr>
        <p:spPr>
          <a:xfrm>
            <a:off x="2590800" y="3733800"/>
            <a:ext cx="1905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A</a:t>
            </a:r>
            <a:r>
              <a:rPr lang="en-US" sz="1400" i="1" dirty="0" smtClean="0"/>
              <a:t> 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M </a:t>
            </a:r>
            <a:r>
              <a:rPr lang="en-US" sz="1400" i="1" dirty="0" smtClean="0"/>
              <a:t>Simulation and Verification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System Concepts</a:t>
            </a:r>
          </a:p>
          <a:p>
            <a:pPr marL="342900" indent="-342900">
              <a:buFont typeface="Arial"/>
              <a:buChar char="•"/>
            </a:pPr>
            <a:r>
              <a:rPr lang="en-US" sz="1400" b="1" i="1" dirty="0" smtClean="0"/>
              <a:t>ISA </a:t>
            </a:r>
            <a:r>
              <a:rPr lang="en-US" sz="1400" i="1" dirty="0" smtClean="0"/>
              <a:t>and</a:t>
            </a:r>
            <a:r>
              <a:rPr lang="en-US" sz="1400" b="1" i="1" dirty="0" smtClean="0"/>
              <a:t> ISM </a:t>
            </a:r>
            <a:r>
              <a:rPr lang="en-US" sz="1400" i="1" dirty="0" smtClean="0"/>
              <a:t>Operations</a:t>
            </a:r>
            <a:endParaRPr lang="en-US" sz="1400" i="1" dirty="0"/>
          </a:p>
        </p:txBody>
      </p:sp>
      <p:sp>
        <p:nvSpPr>
          <p:cNvPr id="30" name="TextBox 29"/>
          <p:cNvSpPr txBox="1"/>
          <p:nvPr/>
        </p:nvSpPr>
        <p:spPr>
          <a:xfrm>
            <a:off x="4648200" y="3733800"/>
            <a:ext cx="1905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err="1" smtClean="0"/>
              <a:t>Deployables</a:t>
            </a:r>
            <a:r>
              <a:rPr lang="en-US" sz="1400" i="1" dirty="0" smtClean="0"/>
              <a:t>, </a:t>
            </a:r>
            <a:r>
              <a:rPr lang="en-US" sz="1400" i="1" dirty="0" err="1" smtClean="0"/>
              <a:t>Softgoods</a:t>
            </a:r>
            <a:r>
              <a:rPr lang="en-US" sz="1400" i="1" dirty="0" smtClean="0"/>
              <a:t>, Modularity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nufacturing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Advanced Material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Multifunctional Integration</a:t>
            </a:r>
            <a:endParaRPr lang="en-US" sz="1400" i="1" dirty="0"/>
          </a:p>
        </p:txBody>
      </p:sp>
      <p:sp>
        <p:nvSpPr>
          <p:cNvPr id="31" name="TextBox 30"/>
          <p:cNvSpPr txBox="1"/>
          <p:nvPr/>
        </p:nvSpPr>
        <p:spPr>
          <a:xfrm>
            <a:off x="6781800" y="3733800"/>
            <a:ext cx="19050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Hot Structures and TP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Cold Mechanisms</a:t>
            </a:r>
          </a:p>
          <a:p>
            <a:pPr marL="342900" indent="-342900">
              <a:buFont typeface="Arial"/>
              <a:buChar char="•"/>
            </a:pPr>
            <a:r>
              <a:rPr lang="en-US" sz="1400" i="1" dirty="0" smtClean="0"/>
              <a:t>Dust/Radiation/Space Environmental Effects (SEE)</a:t>
            </a:r>
            <a:endParaRPr lang="en-US" sz="1400" i="1" dirty="0"/>
          </a:p>
        </p:txBody>
      </p:sp>
    </p:spTree>
    <p:extLst>
      <p:ext uri="{BB962C8B-B14F-4D97-AF65-F5344CB8AC3E}">
        <p14:creationId xmlns:p14="http://schemas.microsoft.com/office/powerpoint/2010/main" val="136846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Human-Rated Composite Structures 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914400" y="3380620"/>
            <a:ext cx="327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omposites for Exploration</a:t>
            </a:r>
            <a:endParaRPr lang="en-US" sz="180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739259" y="6005200"/>
            <a:ext cx="20646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eep Space Habitat</a:t>
            </a:r>
            <a:endParaRPr lang="en-US" sz="180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72000" y="3364468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NASA Launch and Commercial Space</a:t>
            </a:r>
            <a:endParaRPr lang="en-US" sz="1800" b="1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81000" y="1447800"/>
            <a:ext cx="2057400" cy="1752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657" y="3900799"/>
            <a:ext cx="3581400" cy="2003156"/>
          </a:xfrm>
          <a:prstGeom prst="rect">
            <a:avLst/>
          </a:prstGeom>
        </p:spPr>
      </p:pic>
      <p:grpSp>
        <p:nvGrpSpPr>
          <p:cNvPr id="48" name="Group 47"/>
          <p:cNvGrpSpPr/>
          <p:nvPr/>
        </p:nvGrpSpPr>
        <p:grpSpPr>
          <a:xfrm>
            <a:off x="5029200" y="1066801"/>
            <a:ext cx="3810000" cy="2310729"/>
            <a:chOff x="5029200" y="1066801"/>
            <a:chExt cx="3810000" cy="2310729"/>
          </a:xfrm>
        </p:grpSpPr>
        <p:grpSp>
          <p:nvGrpSpPr>
            <p:cNvPr id="30" name="Group 42"/>
            <p:cNvGrpSpPr>
              <a:grpSpLocks/>
            </p:cNvGrpSpPr>
            <p:nvPr/>
          </p:nvGrpSpPr>
          <p:grpSpPr bwMode="auto">
            <a:xfrm>
              <a:off x="5029200" y="1339716"/>
              <a:ext cx="1834662" cy="1999020"/>
              <a:chOff x="5691068" y="522358"/>
              <a:chExt cx="2907799" cy="4617691"/>
            </a:xfrm>
          </p:grpSpPr>
          <p:grpSp>
            <p:nvGrpSpPr>
              <p:cNvPr id="31" name="Group 3"/>
              <p:cNvGrpSpPr>
                <a:grpSpLocks/>
              </p:cNvGrpSpPr>
              <p:nvPr/>
            </p:nvGrpSpPr>
            <p:grpSpPr bwMode="auto">
              <a:xfrm>
                <a:off x="5691068" y="1349956"/>
                <a:ext cx="301624" cy="3597275"/>
                <a:chOff x="4166" y="478"/>
                <a:chExt cx="315" cy="3764"/>
              </a:xfrm>
            </p:grpSpPr>
            <p:sp>
              <p:nvSpPr>
                <p:cNvPr id="40" name="Freeform 4"/>
                <p:cNvSpPr>
                  <a:spLocks/>
                </p:cNvSpPr>
                <p:nvPr/>
              </p:nvSpPr>
              <p:spPr bwMode="auto">
                <a:xfrm>
                  <a:off x="4177" y="486"/>
                  <a:ext cx="304" cy="310"/>
                </a:xfrm>
                <a:custGeom>
                  <a:avLst/>
                  <a:gdLst>
                    <a:gd name="T0" fmla="*/ 304 w 304"/>
                    <a:gd name="T1" fmla="*/ 310 h 310"/>
                    <a:gd name="T2" fmla="*/ 245 w 304"/>
                    <a:gd name="T3" fmla="*/ 60 h 310"/>
                    <a:gd name="T4" fmla="*/ 215 w 304"/>
                    <a:gd name="T5" fmla="*/ 18 h 310"/>
                    <a:gd name="T6" fmla="*/ 176 w 304"/>
                    <a:gd name="T7" fmla="*/ 0 h 310"/>
                    <a:gd name="T8" fmla="*/ 122 w 304"/>
                    <a:gd name="T9" fmla="*/ 3 h 310"/>
                    <a:gd name="T10" fmla="*/ 89 w 304"/>
                    <a:gd name="T11" fmla="*/ 33 h 310"/>
                    <a:gd name="T12" fmla="*/ 59 w 304"/>
                    <a:gd name="T13" fmla="*/ 75 h 310"/>
                    <a:gd name="T14" fmla="*/ 0 w 304"/>
                    <a:gd name="T15" fmla="*/ 306 h 310"/>
                    <a:gd name="T16" fmla="*/ 304 w 304"/>
                    <a:gd name="T17" fmla="*/ 310 h 31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04"/>
                    <a:gd name="T28" fmla="*/ 0 h 310"/>
                    <a:gd name="T29" fmla="*/ 304 w 304"/>
                    <a:gd name="T30" fmla="*/ 310 h 31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04" h="310">
                      <a:moveTo>
                        <a:pt x="304" y="310"/>
                      </a:moveTo>
                      <a:lnTo>
                        <a:pt x="245" y="60"/>
                      </a:lnTo>
                      <a:lnTo>
                        <a:pt x="215" y="18"/>
                      </a:lnTo>
                      <a:lnTo>
                        <a:pt x="176" y="0"/>
                      </a:lnTo>
                      <a:lnTo>
                        <a:pt x="122" y="3"/>
                      </a:lnTo>
                      <a:lnTo>
                        <a:pt x="89" y="33"/>
                      </a:lnTo>
                      <a:lnTo>
                        <a:pt x="59" y="75"/>
                      </a:lnTo>
                      <a:lnTo>
                        <a:pt x="0" y="306"/>
                      </a:lnTo>
                      <a:lnTo>
                        <a:pt x="304" y="31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 type="none" w="lg" len="lg"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>
                    <a:solidFill>
                      <a:prstClr val="black"/>
                    </a:solidFill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41" name="Picture 5" descr="Cots01"/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12000" contrast="12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66" y="478"/>
                  <a:ext cx="314" cy="37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2" name="Group 15"/>
              <p:cNvGrpSpPr>
                <a:grpSpLocks/>
              </p:cNvGrpSpPr>
              <p:nvPr/>
            </p:nvGrpSpPr>
            <p:grpSpPr bwMode="auto">
              <a:xfrm>
                <a:off x="7106358" y="1175748"/>
                <a:ext cx="647084" cy="3964301"/>
                <a:chOff x="5772041" y="2221189"/>
                <a:chExt cx="647085" cy="3964301"/>
              </a:xfrm>
            </p:grpSpPr>
            <p:sp>
              <p:nvSpPr>
                <p:cNvPr id="38" name="Freeform 14"/>
                <p:cNvSpPr>
                  <a:spLocks/>
                </p:cNvSpPr>
                <p:nvPr/>
              </p:nvSpPr>
              <p:spPr bwMode="auto">
                <a:xfrm>
                  <a:off x="5816600" y="2241550"/>
                  <a:ext cx="527050" cy="3803650"/>
                </a:xfrm>
                <a:custGeom>
                  <a:avLst/>
                  <a:gdLst>
                    <a:gd name="T0" fmla="*/ 31750 w 527050"/>
                    <a:gd name="T1" fmla="*/ 3790950 h 3803650"/>
                    <a:gd name="T2" fmla="*/ 50800 w 527050"/>
                    <a:gd name="T3" fmla="*/ 3676650 h 3803650"/>
                    <a:gd name="T4" fmla="*/ 19050 w 527050"/>
                    <a:gd name="T5" fmla="*/ 3657600 h 3803650"/>
                    <a:gd name="T6" fmla="*/ 0 w 527050"/>
                    <a:gd name="T7" fmla="*/ 2514600 h 3803650"/>
                    <a:gd name="T8" fmla="*/ 57150 w 527050"/>
                    <a:gd name="T9" fmla="*/ 2406650 h 3803650"/>
                    <a:gd name="T10" fmla="*/ 146050 w 527050"/>
                    <a:gd name="T11" fmla="*/ 2292350 h 3803650"/>
                    <a:gd name="T12" fmla="*/ 158750 w 527050"/>
                    <a:gd name="T13" fmla="*/ 1390650 h 3803650"/>
                    <a:gd name="T14" fmla="*/ 184150 w 527050"/>
                    <a:gd name="T15" fmla="*/ 1219200 h 3803650"/>
                    <a:gd name="T16" fmla="*/ 184150 w 527050"/>
                    <a:gd name="T17" fmla="*/ 476250 h 3803650"/>
                    <a:gd name="T18" fmla="*/ 120650 w 527050"/>
                    <a:gd name="T19" fmla="*/ 273050 h 3803650"/>
                    <a:gd name="T20" fmla="*/ 114300 w 527050"/>
                    <a:gd name="T21" fmla="*/ 177800 h 3803650"/>
                    <a:gd name="T22" fmla="*/ 228600 w 527050"/>
                    <a:gd name="T23" fmla="*/ 12700 h 3803650"/>
                    <a:gd name="T24" fmla="*/ 273050 w 527050"/>
                    <a:gd name="T25" fmla="*/ 0 h 3803650"/>
                    <a:gd name="T26" fmla="*/ 336550 w 527050"/>
                    <a:gd name="T27" fmla="*/ 31750 h 3803650"/>
                    <a:gd name="T28" fmla="*/ 425450 w 527050"/>
                    <a:gd name="T29" fmla="*/ 196850 h 3803650"/>
                    <a:gd name="T30" fmla="*/ 425450 w 527050"/>
                    <a:gd name="T31" fmla="*/ 323850 h 3803650"/>
                    <a:gd name="T32" fmla="*/ 368300 w 527050"/>
                    <a:gd name="T33" fmla="*/ 508000 h 3803650"/>
                    <a:gd name="T34" fmla="*/ 400050 w 527050"/>
                    <a:gd name="T35" fmla="*/ 2330450 h 3803650"/>
                    <a:gd name="T36" fmla="*/ 463550 w 527050"/>
                    <a:gd name="T37" fmla="*/ 2381250 h 3803650"/>
                    <a:gd name="T38" fmla="*/ 508000 w 527050"/>
                    <a:gd name="T39" fmla="*/ 2501900 h 3803650"/>
                    <a:gd name="T40" fmla="*/ 527050 w 527050"/>
                    <a:gd name="T41" fmla="*/ 2628900 h 3803650"/>
                    <a:gd name="T42" fmla="*/ 520700 w 527050"/>
                    <a:gd name="T43" fmla="*/ 3670300 h 3803650"/>
                    <a:gd name="T44" fmla="*/ 476250 w 527050"/>
                    <a:gd name="T45" fmla="*/ 3676650 h 3803650"/>
                    <a:gd name="T46" fmla="*/ 527050 w 527050"/>
                    <a:gd name="T47" fmla="*/ 3803650 h 3803650"/>
                    <a:gd name="T48" fmla="*/ 438150 w 527050"/>
                    <a:gd name="T49" fmla="*/ 3797300 h 3803650"/>
                    <a:gd name="T50" fmla="*/ 463550 w 527050"/>
                    <a:gd name="T51" fmla="*/ 3676650 h 3803650"/>
                    <a:gd name="T52" fmla="*/ 412750 w 527050"/>
                    <a:gd name="T53" fmla="*/ 3663950 h 3803650"/>
                    <a:gd name="T54" fmla="*/ 419100 w 527050"/>
                    <a:gd name="T55" fmla="*/ 3486150 h 3803650"/>
                    <a:gd name="T56" fmla="*/ 361950 w 527050"/>
                    <a:gd name="T57" fmla="*/ 3492500 h 3803650"/>
                    <a:gd name="T58" fmla="*/ 381000 w 527050"/>
                    <a:gd name="T59" fmla="*/ 3676650 h 3803650"/>
                    <a:gd name="T60" fmla="*/ 171450 w 527050"/>
                    <a:gd name="T61" fmla="*/ 3695700 h 3803650"/>
                    <a:gd name="T62" fmla="*/ 158750 w 527050"/>
                    <a:gd name="T63" fmla="*/ 3492500 h 3803650"/>
                    <a:gd name="T64" fmla="*/ 107950 w 527050"/>
                    <a:gd name="T65" fmla="*/ 3467100 h 3803650"/>
                    <a:gd name="T66" fmla="*/ 127000 w 527050"/>
                    <a:gd name="T67" fmla="*/ 3644900 h 3803650"/>
                    <a:gd name="T68" fmla="*/ 88900 w 527050"/>
                    <a:gd name="T69" fmla="*/ 3683000 h 3803650"/>
                    <a:gd name="T70" fmla="*/ 101600 w 527050"/>
                    <a:gd name="T71" fmla="*/ 3803650 h 3803650"/>
                    <a:gd name="T72" fmla="*/ 31750 w 527050"/>
                    <a:gd name="T73" fmla="*/ 3790950 h 380365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27050"/>
                    <a:gd name="T112" fmla="*/ 0 h 3803650"/>
                    <a:gd name="T113" fmla="*/ 527050 w 527050"/>
                    <a:gd name="T114" fmla="*/ 3803650 h 380365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27050" h="3803650">
                      <a:moveTo>
                        <a:pt x="31750" y="3790950"/>
                      </a:moveTo>
                      <a:lnTo>
                        <a:pt x="50800" y="3676650"/>
                      </a:lnTo>
                      <a:lnTo>
                        <a:pt x="19050" y="3657600"/>
                      </a:lnTo>
                      <a:lnTo>
                        <a:pt x="0" y="2514600"/>
                      </a:lnTo>
                      <a:lnTo>
                        <a:pt x="57150" y="2406650"/>
                      </a:lnTo>
                      <a:lnTo>
                        <a:pt x="146050" y="2292350"/>
                      </a:lnTo>
                      <a:lnTo>
                        <a:pt x="158750" y="1390650"/>
                      </a:lnTo>
                      <a:lnTo>
                        <a:pt x="184150" y="1219200"/>
                      </a:lnTo>
                      <a:lnTo>
                        <a:pt x="184150" y="476250"/>
                      </a:lnTo>
                      <a:lnTo>
                        <a:pt x="120650" y="273050"/>
                      </a:lnTo>
                      <a:lnTo>
                        <a:pt x="114300" y="177800"/>
                      </a:lnTo>
                      <a:lnTo>
                        <a:pt x="228600" y="12700"/>
                      </a:lnTo>
                      <a:lnTo>
                        <a:pt x="273050" y="0"/>
                      </a:lnTo>
                      <a:lnTo>
                        <a:pt x="336550" y="31750"/>
                      </a:lnTo>
                      <a:lnTo>
                        <a:pt x="425450" y="196850"/>
                      </a:lnTo>
                      <a:lnTo>
                        <a:pt x="425450" y="323850"/>
                      </a:lnTo>
                      <a:lnTo>
                        <a:pt x="368300" y="508000"/>
                      </a:lnTo>
                      <a:lnTo>
                        <a:pt x="400050" y="2330450"/>
                      </a:lnTo>
                      <a:lnTo>
                        <a:pt x="463550" y="2381250"/>
                      </a:lnTo>
                      <a:lnTo>
                        <a:pt x="508000" y="2501900"/>
                      </a:lnTo>
                      <a:lnTo>
                        <a:pt x="527050" y="2628900"/>
                      </a:lnTo>
                      <a:cubicBezTo>
                        <a:pt x="524933" y="2976033"/>
                        <a:pt x="522817" y="3323167"/>
                        <a:pt x="520700" y="3670300"/>
                      </a:cubicBezTo>
                      <a:lnTo>
                        <a:pt x="476250" y="3676650"/>
                      </a:lnTo>
                      <a:lnTo>
                        <a:pt x="527050" y="3803650"/>
                      </a:lnTo>
                      <a:lnTo>
                        <a:pt x="438150" y="3797300"/>
                      </a:lnTo>
                      <a:lnTo>
                        <a:pt x="463550" y="3676650"/>
                      </a:lnTo>
                      <a:lnTo>
                        <a:pt x="412750" y="3663950"/>
                      </a:lnTo>
                      <a:lnTo>
                        <a:pt x="419100" y="3486150"/>
                      </a:lnTo>
                      <a:lnTo>
                        <a:pt x="361950" y="3492500"/>
                      </a:lnTo>
                      <a:lnTo>
                        <a:pt x="381000" y="3676650"/>
                      </a:lnTo>
                      <a:lnTo>
                        <a:pt x="171450" y="3695700"/>
                      </a:lnTo>
                      <a:lnTo>
                        <a:pt x="158750" y="3492500"/>
                      </a:lnTo>
                      <a:lnTo>
                        <a:pt x="107950" y="3467100"/>
                      </a:lnTo>
                      <a:lnTo>
                        <a:pt x="127000" y="3644900"/>
                      </a:lnTo>
                      <a:lnTo>
                        <a:pt x="88900" y="3683000"/>
                      </a:lnTo>
                      <a:lnTo>
                        <a:pt x="101600" y="3803650"/>
                      </a:lnTo>
                      <a:lnTo>
                        <a:pt x="31750" y="379095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 type="stealth" w="lg" len="lg"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>
                    <a:solidFill>
                      <a:prstClr val="black"/>
                    </a:solidFill>
                    <a:latin typeface="Calibri"/>
                    <a:ea typeface="+mn-ea"/>
                    <a:cs typeface="+mn-cs"/>
                  </a:endParaRPr>
                </a:p>
              </p:txBody>
            </p:sp>
            <p:pic>
              <p:nvPicPr>
                <p:cNvPr id="39" name="Picture 13" descr="Boeing on Atlas.jpg"/>
                <p:cNvPicPr>
                  <a:picLocks noChangeAspect="1"/>
                </p:cNvPicPr>
                <p:nvPr/>
              </p:nvPicPr>
              <p:blipFill>
                <a:blip r:embed="rId5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772041" y="2221189"/>
                  <a:ext cx="647085" cy="39643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33" name="Group 36"/>
              <p:cNvGrpSpPr>
                <a:grpSpLocks/>
              </p:cNvGrpSpPr>
              <p:nvPr/>
            </p:nvGrpSpPr>
            <p:grpSpPr bwMode="auto">
              <a:xfrm>
                <a:off x="6017466" y="522358"/>
                <a:ext cx="1147074" cy="4583560"/>
                <a:chOff x="6099091" y="1841169"/>
                <a:chExt cx="1147075" cy="4583560"/>
              </a:xfrm>
            </p:grpSpPr>
            <p:pic>
              <p:nvPicPr>
                <p:cNvPr id="35" name="Picture 34" descr="431VertWithDreamChaser"/>
                <p:cNvPicPr>
                  <a:picLocks noChangeAspect="1" noChangeArrowheads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99091" y="1841169"/>
                  <a:ext cx="1147075" cy="458356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6" name="Rectangle 34"/>
                <p:cNvSpPr>
                  <a:spLocks noChangeArrowheads="1"/>
                </p:cNvSpPr>
                <p:nvPr/>
              </p:nvSpPr>
              <p:spPr bwMode="auto">
                <a:xfrm>
                  <a:off x="6278870" y="4792811"/>
                  <a:ext cx="184731" cy="160798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 type="stealth" w="lg" len="lg"/>
                      <a:tailEnd/>
                    </a14:hiddenLine>
                  </a:ext>
                </a:extLst>
              </p:spPr>
              <p:txBody>
                <a:bodyPr wrap="none"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>
                    <a:solidFill>
                      <a:prstClr val="black"/>
                    </a:solidFill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Rectangle 35"/>
                <p:cNvSpPr>
                  <a:spLocks noChangeArrowheads="1"/>
                </p:cNvSpPr>
                <p:nvPr/>
              </p:nvSpPr>
              <p:spPr bwMode="auto">
                <a:xfrm>
                  <a:off x="6751992" y="4795086"/>
                  <a:ext cx="184731" cy="1607989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 type="stealth" w="lg" len="lg"/>
                      <a:tailEnd/>
                    </a14:hiddenLine>
                  </a:ext>
                </a:extLst>
              </p:spPr>
              <p:txBody>
                <a:bodyPr wrap="none"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>
                    <a:solidFill>
                      <a:prstClr val="black"/>
                    </a:solidFill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4" name="Picture 40"/>
              <p:cNvPicPr>
                <a:picLocks noChangeAspect="1" noChangeArrowheads="1"/>
              </p:cNvPicPr>
              <p:nvPr/>
            </p:nvPicPr>
            <p:blipFill>
              <a:blip r:embed="rId7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86700" t="3448" r="5264" b="22034"/>
              <a:stretch>
                <a:fillRect/>
              </a:stretch>
            </p:blipFill>
            <p:spPr bwMode="auto">
              <a:xfrm>
                <a:off x="8081083" y="1376889"/>
                <a:ext cx="517784" cy="36081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42" name="Picture 41" descr="SLS_21002_DAC3_130t_cargo_front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78498" y="1066801"/>
              <a:ext cx="543234" cy="2269333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7146" y="1178817"/>
              <a:ext cx="595723" cy="2173984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90210" y="1143000"/>
              <a:ext cx="448990" cy="2234530"/>
            </a:xfrm>
            <a:prstGeom prst="rect">
              <a:avLst/>
            </a:prstGeom>
          </p:spPr>
        </p:pic>
      </p:grp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2514600" y="1447800"/>
            <a:ext cx="1905000" cy="1761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33706" y="6547757"/>
            <a:ext cx="710293" cy="310243"/>
          </a:xfrm>
          <a:prstGeom prst="rect">
            <a:avLst/>
          </a:prstGeom>
        </p:spPr>
        <p:txBody>
          <a:bodyPr/>
          <a:lstStyle/>
          <a:p>
            <a:fld id="{4336D8BB-1FBA-4ECE-B83B-DC345E7EB0E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5944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Q8kISqE0GI0MYCsk.1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Q8kISqE0GI0MYCsk.1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Q8kISqE0GI0MYCsk.1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Q8kISqE0GI0MYCsk.1A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188</TotalTime>
  <Words>1552</Words>
  <Application>Microsoft Macintosh PowerPoint</Application>
  <PresentationFormat>On-screen Show (4:3)</PresentationFormat>
  <Paragraphs>357</Paragraphs>
  <Slides>22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Office Theme</vt:lpstr>
      <vt:lpstr>4_Office Theme</vt:lpstr>
      <vt:lpstr>3_Office Theme</vt:lpstr>
      <vt:lpstr>5_Office Theme</vt:lpstr>
      <vt:lpstr>think-cell Slide</vt:lpstr>
      <vt:lpstr>Advanced Aerospace Materials:  “Beyond The Next” Workshop </vt:lpstr>
      <vt:lpstr>PowerPoint Presentation</vt:lpstr>
      <vt:lpstr>Day 2 Agenda June 22, 201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uman-Rated Composite Structures </vt:lpstr>
      <vt:lpstr>EMC Small Habitat Commonality</vt:lpstr>
      <vt:lpstr>PowerPoint Presentation</vt:lpstr>
      <vt:lpstr>PowerPoint Presentation</vt:lpstr>
      <vt:lpstr>PowerPoint Presentation</vt:lpstr>
      <vt:lpstr>Multifunctional LMSAM</vt:lpstr>
      <vt:lpstr>PowerPoint Presentation</vt:lpstr>
      <vt:lpstr>PowerPoint Presentation</vt:lpstr>
      <vt:lpstr>NASA Extreme Environments</vt:lpstr>
      <vt:lpstr>PowerPoint Presentation</vt:lpstr>
      <vt:lpstr>PowerPoint Presentation</vt:lpstr>
      <vt:lpstr>National Nanotechnology Initiative </vt:lpstr>
      <vt:lpstr>Materials Strategy  Driven by BlueSky Thinking</vt:lpstr>
      <vt:lpstr>PowerPoint Presentation</vt:lpstr>
    </vt:vector>
  </TitlesOfParts>
  <Manager/>
  <Company>NAS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me-Changing Technology Program</dc:title>
  <dc:subject/>
  <dc:creator>Vickers</dc:creator>
  <cp:keywords/>
  <dc:description/>
  <cp:lastModifiedBy>Belvin, W Keith (LARC-A)</cp:lastModifiedBy>
  <cp:revision>1823</cp:revision>
  <cp:lastPrinted>2016-06-14T14:14:54Z</cp:lastPrinted>
  <dcterms:created xsi:type="dcterms:W3CDTF">2012-02-15T18:11:54Z</dcterms:created>
  <dcterms:modified xsi:type="dcterms:W3CDTF">2016-06-21T11:55:24Z</dcterms:modified>
  <cp:category/>
</cp:coreProperties>
</file>